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4"/>
  </p:notesMasterIdLst>
  <p:sldIdLst>
    <p:sldId id="534" r:id="rId5"/>
    <p:sldId id="582" r:id="rId6"/>
    <p:sldId id="584" r:id="rId7"/>
    <p:sldId id="585" r:id="rId8"/>
    <p:sldId id="586" r:id="rId9"/>
    <p:sldId id="587" r:id="rId10"/>
    <p:sldId id="588" r:id="rId11"/>
    <p:sldId id="589" r:id="rId12"/>
    <p:sldId id="592" r:id="rId13"/>
    <p:sldId id="591" r:id="rId14"/>
    <p:sldId id="593" r:id="rId15"/>
    <p:sldId id="596" r:id="rId16"/>
    <p:sldId id="597" r:id="rId17"/>
    <p:sldId id="598" r:id="rId18"/>
    <p:sldId id="594" r:id="rId19"/>
    <p:sldId id="599" r:id="rId20"/>
    <p:sldId id="595" r:id="rId21"/>
    <p:sldId id="600" r:id="rId22"/>
    <p:sldId id="590" r:id="rId23"/>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egriffsbildung" id="{4267F000-E4BB-4FBD-A241-864F5B4777FA}">
          <p14:sldIdLst>
            <p14:sldId id="534"/>
            <p14:sldId id="582"/>
            <p14:sldId id="584"/>
            <p14:sldId id="585"/>
            <p14:sldId id="586"/>
            <p14:sldId id="587"/>
            <p14:sldId id="588"/>
            <p14:sldId id="589"/>
          </p14:sldIdLst>
        </p14:section>
        <p14:section name="Binär Dezimal" id="{ABCC35EE-38D1-4183-A0BA-7ED78B1558A0}">
          <p14:sldIdLst>
            <p14:sldId id="592"/>
            <p14:sldId id="591"/>
            <p14:sldId id="593"/>
            <p14:sldId id="596"/>
            <p14:sldId id="597"/>
            <p14:sldId id="598"/>
            <p14:sldId id="594"/>
            <p14:sldId id="599"/>
            <p14:sldId id="595"/>
            <p14:sldId id="600"/>
            <p14:sldId id="59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25861"/>
    <a:srgbClr val="5FAC2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EC0F12-9DC6-5048-A1B8-235214427B0E}" v="3" dt="2020-02-17T16:08:46.7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453"/>
    <p:restoredTop sz="94766"/>
  </p:normalViewPr>
  <p:slideViewPr>
    <p:cSldViewPr snapToGrid="0" snapToObjects="1" showGuides="1">
      <p:cViewPr varScale="1">
        <p:scale>
          <a:sx n="121" d="100"/>
          <a:sy n="121" d="100"/>
        </p:scale>
        <p:origin x="192" y="36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naus Guido PHSG" userId="122d9c31-9087-4ecf-b9f0-7bfba28b66aa" providerId="ADAL" clId="{6CEC0F12-9DC6-5048-A1B8-235214427B0E}"/>
    <pc:docChg chg="custSel modSld">
      <pc:chgData name="Knaus Guido PHSG" userId="122d9c31-9087-4ecf-b9f0-7bfba28b66aa" providerId="ADAL" clId="{6CEC0F12-9DC6-5048-A1B8-235214427B0E}" dt="2020-02-17T16:09:05.833" v="19" actId="14100"/>
      <pc:docMkLst>
        <pc:docMk/>
      </pc:docMkLst>
      <pc:sldChg chg="delSp modSp">
        <pc:chgData name="Knaus Guido PHSG" userId="122d9c31-9087-4ecf-b9f0-7bfba28b66aa" providerId="ADAL" clId="{6CEC0F12-9DC6-5048-A1B8-235214427B0E}" dt="2020-02-17T16:06:02.734" v="17"/>
        <pc:sldMkLst>
          <pc:docMk/>
          <pc:sldMk cId="2721331" sldId="534"/>
        </pc:sldMkLst>
        <pc:spChg chg="mod">
          <ac:chgData name="Knaus Guido PHSG" userId="122d9c31-9087-4ecf-b9f0-7bfba28b66aa" providerId="ADAL" clId="{6CEC0F12-9DC6-5048-A1B8-235214427B0E}" dt="2020-02-17T16:06:02.734" v="17"/>
          <ac:spMkLst>
            <pc:docMk/>
            <pc:sldMk cId="2721331" sldId="534"/>
            <ac:spMk id="5" creationId="{00000000-0000-0000-0000-000000000000}"/>
          </ac:spMkLst>
        </pc:spChg>
        <pc:spChg chg="del mod">
          <ac:chgData name="Knaus Guido PHSG" userId="122d9c31-9087-4ecf-b9f0-7bfba28b66aa" providerId="ADAL" clId="{6CEC0F12-9DC6-5048-A1B8-235214427B0E}" dt="2020-02-17T16:06:00.048" v="16" actId="478"/>
          <ac:spMkLst>
            <pc:docMk/>
            <pc:sldMk cId="2721331" sldId="534"/>
            <ac:spMk id="20" creationId="{BA3E5147-7F01-F940-817A-67ABDAC1C801}"/>
          </ac:spMkLst>
        </pc:spChg>
      </pc:sldChg>
      <pc:sldChg chg="modSp">
        <pc:chgData name="Knaus Guido PHSG" userId="122d9c31-9087-4ecf-b9f0-7bfba28b66aa" providerId="ADAL" clId="{6CEC0F12-9DC6-5048-A1B8-235214427B0E}" dt="2020-02-17T16:09:05.833" v="19" actId="14100"/>
        <pc:sldMkLst>
          <pc:docMk/>
          <pc:sldMk cId="3647424271" sldId="582"/>
        </pc:sldMkLst>
        <pc:picChg chg="mod">
          <ac:chgData name="Knaus Guido PHSG" userId="122d9c31-9087-4ecf-b9f0-7bfba28b66aa" providerId="ADAL" clId="{6CEC0F12-9DC6-5048-A1B8-235214427B0E}" dt="2020-02-17T16:09:05.833" v="19" actId="14100"/>
          <ac:picMkLst>
            <pc:docMk/>
            <pc:sldMk cId="3647424271" sldId="582"/>
            <ac:picMk id="3" creationId="{0650A429-4753-4117-AEB8-981B85493D3E}"/>
          </ac:picMkLst>
        </pc:picChg>
      </pc:sldChg>
      <pc:sldChg chg="modSp">
        <pc:chgData name="Knaus Guido PHSG" userId="122d9c31-9087-4ecf-b9f0-7bfba28b66aa" providerId="ADAL" clId="{6CEC0F12-9DC6-5048-A1B8-235214427B0E}" dt="2020-02-17T16:04:48.349" v="10" actId="1038"/>
        <pc:sldMkLst>
          <pc:docMk/>
          <pc:sldMk cId="2176194404" sldId="595"/>
        </pc:sldMkLst>
        <pc:spChg chg="mod">
          <ac:chgData name="Knaus Guido PHSG" userId="122d9c31-9087-4ecf-b9f0-7bfba28b66aa" providerId="ADAL" clId="{6CEC0F12-9DC6-5048-A1B8-235214427B0E}" dt="2020-02-17T16:04:48.349" v="10" actId="1038"/>
          <ac:spMkLst>
            <pc:docMk/>
            <pc:sldMk cId="2176194404" sldId="595"/>
            <ac:spMk id="2" creationId="{79B02337-971C-44A4-9759-6546F6D53F97}"/>
          </ac:spMkLst>
        </pc:spChg>
      </pc:sldChg>
      <pc:sldChg chg="modSp">
        <pc:chgData name="Knaus Guido PHSG" userId="122d9c31-9087-4ecf-b9f0-7bfba28b66aa" providerId="ADAL" clId="{6CEC0F12-9DC6-5048-A1B8-235214427B0E}" dt="2020-02-17T16:04:13.089" v="0" actId="1038"/>
        <pc:sldMkLst>
          <pc:docMk/>
          <pc:sldMk cId="1368678634" sldId="599"/>
        </pc:sldMkLst>
        <pc:spChg chg="mod">
          <ac:chgData name="Knaus Guido PHSG" userId="122d9c31-9087-4ecf-b9f0-7bfba28b66aa" providerId="ADAL" clId="{6CEC0F12-9DC6-5048-A1B8-235214427B0E}" dt="2020-02-17T16:04:13.089" v="0" actId="1038"/>
          <ac:spMkLst>
            <pc:docMk/>
            <pc:sldMk cId="1368678634" sldId="599"/>
            <ac:spMk id="9" creationId="{EBA0841B-1831-4CEF-A017-50CF95A14DDB}"/>
          </ac:spMkLst>
        </pc:spChg>
      </pc:sldChg>
      <pc:sldChg chg="modSp">
        <pc:chgData name="Knaus Guido PHSG" userId="122d9c31-9087-4ecf-b9f0-7bfba28b66aa" providerId="ADAL" clId="{6CEC0F12-9DC6-5048-A1B8-235214427B0E}" dt="2020-02-17T16:04:32.797" v="2" actId="1076"/>
        <pc:sldMkLst>
          <pc:docMk/>
          <pc:sldMk cId="2664832222" sldId="600"/>
        </pc:sldMkLst>
        <pc:spChg chg="mod">
          <ac:chgData name="Knaus Guido PHSG" userId="122d9c31-9087-4ecf-b9f0-7bfba28b66aa" providerId="ADAL" clId="{6CEC0F12-9DC6-5048-A1B8-235214427B0E}" dt="2020-02-17T16:04:26.734" v="1" actId="113"/>
          <ac:spMkLst>
            <pc:docMk/>
            <pc:sldMk cId="2664832222" sldId="600"/>
            <ac:spMk id="2" creationId="{79B02337-971C-44A4-9759-6546F6D53F97}"/>
          </ac:spMkLst>
        </pc:spChg>
        <pc:spChg chg="mod">
          <ac:chgData name="Knaus Guido PHSG" userId="122d9c31-9087-4ecf-b9f0-7bfba28b66aa" providerId="ADAL" clId="{6CEC0F12-9DC6-5048-A1B8-235214427B0E}" dt="2020-02-17T16:04:32.797" v="2" actId="1076"/>
          <ac:spMkLst>
            <pc:docMk/>
            <pc:sldMk cId="2664832222" sldId="600"/>
            <ac:spMk id="5" creationId="{53A5996F-A214-714F-BCA6-4DACEFD785BA}"/>
          </ac:spMkLst>
        </pc:spChg>
      </pc:sldChg>
    </pc:docChg>
  </pc:docChgLst>
  <pc:docChgLst>
    <pc:chgData name="Sandra Kamm" userId="35d912f9-2903-4993-bdf9-093e7141f3f2" providerId="ADAL" clId="{FFB4E4AB-78F6-44A7-A78E-61C4F8F50297}"/>
    <pc:docChg chg="undo custSel addSld delSld modSld sldOrd addSection modSection">
      <pc:chgData name="Sandra Kamm" userId="35d912f9-2903-4993-bdf9-093e7141f3f2" providerId="ADAL" clId="{FFB4E4AB-78F6-44A7-A78E-61C4F8F50297}" dt="2020-01-17T14:19:59.399" v="4514" actId="1076"/>
      <pc:docMkLst>
        <pc:docMk/>
      </pc:docMkLst>
      <pc:sldChg chg="del">
        <pc:chgData name="Sandra Kamm" userId="35d912f9-2903-4993-bdf9-093e7141f3f2" providerId="ADAL" clId="{FFB4E4AB-78F6-44A7-A78E-61C4F8F50297}" dt="2020-01-17T12:52:32.149" v="1722" actId="47"/>
        <pc:sldMkLst>
          <pc:docMk/>
          <pc:sldMk cId="1013377465" sldId="314"/>
        </pc:sldMkLst>
      </pc:sldChg>
      <pc:sldChg chg="addSp delSp modSp">
        <pc:chgData name="Sandra Kamm" userId="35d912f9-2903-4993-bdf9-093e7141f3f2" providerId="ADAL" clId="{FFB4E4AB-78F6-44A7-A78E-61C4F8F50297}" dt="2020-01-17T10:03:09.454" v="450" actId="14100"/>
        <pc:sldMkLst>
          <pc:docMk/>
          <pc:sldMk cId="2721331" sldId="534"/>
        </pc:sldMkLst>
        <pc:spChg chg="del mod">
          <ac:chgData name="Sandra Kamm" userId="35d912f9-2903-4993-bdf9-093e7141f3f2" providerId="ADAL" clId="{FFB4E4AB-78F6-44A7-A78E-61C4F8F50297}" dt="2020-01-17T10:02:09.647" v="431"/>
          <ac:spMkLst>
            <pc:docMk/>
            <pc:sldMk cId="2721331" sldId="534"/>
            <ac:spMk id="2" creationId="{3ED7507B-6903-694F-9DB0-23BD16A86A22}"/>
          </ac:spMkLst>
        </pc:spChg>
        <pc:spChg chg="mod">
          <ac:chgData name="Sandra Kamm" userId="35d912f9-2903-4993-bdf9-093e7141f3f2" providerId="ADAL" clId="{FFB4E4AB-78F6-44A7-A78E-61C4F8F50297}" dt="2020-01-17T09:43:27.503" v="107" actId="1076"/>
          <ac:spMkLst>
            <pc:docMk/>
            <pc:sldMk cId="2721331" sldId="534"/>
            <ac:spMk id="5" creationId="{00000000-0000-0000-0000-000000000000}"/>
          </ac:spMkLst>
        </pc:spChg>
        <pc:spChg chg="add del mod">
          <ac:chgData name="Sandra Kamm" userId="35d912f9-2903-4993-bdf9-093e7141f3f2" providerId="ADAL" clId="{FFB4E4AB-78F6-44A7-A78E-61C4F8F50297}" dt="2020-01-17T09:59:21.842" v="409" actId="931"/>
          <ac:spMkLst>
            <pc:docMk/>
            <pc:sldMk cId="2721331" sldId="534"/>
            <ac:spMk id="7" creationId="{4682C23A-99CF-4C9C-B8EB-1B95E1E30028}"/>
          </ac:spMkLst>
        </pc:spChg>
        <pc:spChg chg="mod">
          <ac:chgData name="Sandra Kamm" userId="35d912f9-2903-4993-bdf9-093e7141f3f2" providerId="ADAL" clId="{FFB4E4AB-78F6-44A7-A78E-61C4F8F50297}" dt="2020-01-17T09:44:16.855" v="128" actId="20577"/>
          <ac:spMkLst>
            <pc:docMk/>
            <pc:sldMk cId="2721331" sldId="534"/>
            <ac:spMk id="9" creationId="{C98F1218-93DB-2947-9521-A7645DD493AE}"/>
          </ac:spMkLst>
        </pc:spChg>
        <pc:spChg chg="add del mod">
          <ac:chgData name="Sandra Kamm" userId="35d912f9-2903-4993-bdf9-093e7141f3f2" providerId="ADAL" clId="{FFB4E4AB-78F6-44A7-A78E-61C4F8F50297}" dt="2020-01-17T10:01:32.157" v="418" actId="931"/>
          <ac:spMkLst>
            <pc:docMk/>
            <pc:sldMk cId="2721331" sldId="534"/>
            <ac:spMk id="13" creationId="{5F9EDA21-451B-475F-9500-84E03174E924}"/>
          </ac:spMkLst>
        </pc:spChg>
        <pc:spChg chg="add">
          <ac:chgData name="Sandra Kamm" userId="35d912f9-2903-4993-bdf9-093e7141f3f2" providerId="ADAL" clId="{FFB4E4AB-78F6-44A7-A78E-61C4F8F50297}" dt="2020-01-17T09:43:44.441" v="109"/>
          <ac:spMkLst>
            <pc:docMk/>
            <pc:sldMk cId="2721331" sldId="534"/>
            <ac:spMk id="15" creationId="{70B3CA38-FA44-456E-B13B-4CB8DA490B3E}"/>
          </ac:spMkLst>
        </pc:spChg>
        <pc:spChg chg="mod">
          <ac:chgData name="Sandra Kamm" userId="35d912f9-2903-4993-bdf9-093e7141f3f2" providerId="ADAL" clId="{FFB4E4AB-78F6-44A7-A78E-61C4F8F50297}" dt="2020-01-17T09:43:26.087" v="106" actId="1076"/>
          <ac:spMkLst>
            <pc:docMk/>
            <pc:sldMk cId="2721331" sldId="534"/>
            <ac:spMk id="20" creationId="{BA3E5147-7F01-F940-817A-67ABDAC1C801}"/>
          </ac:spMkLst>
        </pc:spChg>
        <pc:spChg chg="add">
          <ac:chgData name="Sandra Kamm" userId="35d912f9-2903-4993-bdf9-093e7141f3f2" providerId="ADAL" clId="{FFB4E4AB-78F6-44A7-A78E-61C4F8F50297}" dt="2020-01-17T09:44:01.997" v="112"/>
          <ac:spMkLst>
            <pc:docMk/>
            <pc:sldMk cId="2721331" sldId="534"/>
            <ac:spMk id="21" creationId="{85510494-1DF7-4117-BF77-A26DECFAA82B}"/>
          </ac:spMkLst>
        </pc:spChg>
        <pc:spChg chg="add mod">
          <ac:chgData name="Sandra Kamm" userId="35d912f9-2903-4993-bdf9-093e7141f3f2" providerId="ADAL" clId="{FFB4E4AB-78F6-44A7-A78E-61C4F8F50297}" dt="2020-01-17T10:02:31.356" v="441" actId="1076"/>
          <ac:spMkLst>
            <pc:docMk/>
            <pc:sldMk cId="2721331" sldId="534"/>
            <ac:spMk id="29" creationId="{1FA19ACA-053E-4B97-8FC2-290F54A19D28}"/>
          </ac:spMkLst>
        </pc:spChg>
        <pc:grpChg chg="del">
          <ac:chgData name="Sandra Kamm" userId="35d912f9-2903-4993-bdf9-093e7141f3f2" providerId="ADAL" clId="{FFB4E4AB-78F6-44A7-A78E-61C4F8F50297}" dt="2020-01-17T09:43:50.184" v="111" actId="478"/>
          <ac:grpSpMkLst>
            <pc:docMk/>
            <pc:sldMk cId="2721331" sldId="534"/>
            <ac:grpSpMk id="3" creationId="{F7F578BD-9D63-C24B-9898-67350176F178}"/>
          </ac:grpSpMkLst>
        </pc:grpChg>
        <pc:grpChg chg="add del mod">
          <ac:chgData name="Sandra Kamm" userId="35d912f9-2903-4993-bdf9-093e7141f3f2" providerId="ADAL" clId="{FFB4E4AB-78F6-44A7-A78E-61C4F8F50297}" dt="2020-01-17T10:02:42.633" v="445"/>
          <ac:grpSpMkLst>
            <pc:docMk/>
            <pc:sldMk cId="2721331" sldId="534"/>
            <ac:grpSpMk id="14" creationId="{5667684F-59FD-4851-BCAD-E6132553BE7C}"/>
          </ac:grpSpMkLst>
        </pc:grpChg>
        <pc:grpChg chg="add del mod">
          <ac:chgData name="Sandra Kamm" userId="35d912f9-2903-4993-bdf9-093e7141f3f2" providerId="ADAL" clId="{FFB4E4AB-78F6-44A7-A78E-61C4F8F50297}" dt="2020-01-17T10:02:17.236" v="434"/>
          <ac:grpSpMkLst>
            <pc:docMk/>
            <pc:sldMk cId="2721331" sldId="534"/>
            <ac:grpSpMk id="17" creationId="{64A5ED29-170D-4E42-BEB4-FF8050B2A040}"/>
          </ac:grpSpMkLst>
        </pc:grpChg>
        <pc:grpChg chg="del">
          <ac:chgData name="Sandra Kamm" userId="35d912f9-2903-4993-bdf9-093e7141f3f2" providerId="ADAL" clId="{FFB4E4AB-78F6-44A7-A78E-61C4F8F50297}" dt="2020-01-17T09:43:43.434" v="108" actId="478"/>
          <ac:grpSpMkLst>
            <pc:docMk/>
            <pc:sldMk cId="2721331" sldId="534"/>
            <ac:grpSpMk id="22" creationId="{BA44C133-10A7-FD48-BBD9-66E497A0E5A1}"/>
          </ac:grpSpMkLst>
        </pc:grpChg>
        <pc:grpChg chg="add del mod">
          <ac:chgData name="Sandra Kamm" userId="35d912f9-2903-4993-bdf9-093e7141f3f2" providerId="ADAL" clId="{FFB4E4AB-78F6-44A7-A78E-61C4F8F50297}" dt="2020-01-17T10:02:32.556" v="442"/>
          <ac:grpSpMkLst>
            <pc:docMk/>
            <pc:sldMk cId="2721331" sldId="534"/>
            <ac:grpSpMk id="30" creationId="{7B410550-686A-40E8-ACCC-1FF25659B5DE}"/>
          </ac:grpSpMkLst>
        </pc:grpChg>
        <pc:grpChg chg="add mod">
          <ac:chgData name="Sandra Kamm" userId="35d912f9-2903-4993-bdf9-093e7141f3f2" providerId="ADAL" clId="{FFB4E4AB-78F6-44A7-A78E-61C4F8F50297}" dt="2020-01-17T10:02:53.982" v="448" actId="1076"/>
          <ac:grpSpMkLst>
            <pc:docMk/>
            <pc:sldMk cId="2721331" sldId="534"/>
            <ac:grpSpMk id="33" creationId="{721F44B0-5EC3-4A5F-8CF6-E61A275A1BAF}"/>
          </ac:grpSpMkLst>
        </pc:grpChg>
        <pc:grpChg chg="add mod">
          <ac:chgData name="Sandra Kamm" userId="35d912f9-2903-4993-bdf9-093e7141f3f2" providerId="ADAL" clId="{FFB4E4AB-78F6-44A7-A78E-61C4F8F50297}" dt="2020-01-17T10:02:56.073" v="449" actId="1076"/>
          <ac:grpSpMkLst>
            <pc:docMk/>
            <pc:sldMk cId="2721331" sldId="534"/>
            <ac:grpSpMk id="36" creationId="{0DF5953A-5DD8-4093-9194-304D1288B232}"/>
          </ac:grpSpMkLst>
        </pc:grpChg>
        <pc:picChg chg="del">
          <ac:chgData name="Sandra Kamm" userId="35d912f9-2903-4993-bdf9-093e7141f3f2" providerId="ADAL" clId="{FFB4E4AB-78F6-44A7-A78E-61C4F8F50297}" dt="2020-01-17T09:57:50.428" v="406" actId="478"/>
          <ac:picMkLst>
            <pc:docMk/>
            <pc:sldMk cId="2721331" sldId="534"/>
            <ac:picMk id="6" creationId="{27B31363-9DCC-B043-AE23-4ACD67BEC315}"/>
          </ac:picMkLst>
        </pc:picChg>
        <pc:picChg chg="add del mod">
          <ac:chgData name="Sandra Kamm" userId="35d912f9-2903-4993-bdf9-093e7141f3f2" providerId="ADAL" clId="{FFB4E4AB-78F6-44A7-A78E-61C4F8F50297}" dt="2020-01-17T09:58:07.924" v="408"/>
          <ac:picMkLst>
            <pc:docMk/>
            <pc:sldMk cId="2721331" sldId="534"/>
            <ac:picMk id="8" creationId="{202C9E75-E84E-41D3-972A-524F73809FE6}"/>
          </ac:picMkLst>
        </pc:picChg>
        <pc:picChg chg="add del mod">
          <ac:chgData name="Sandra Kamm" userId="35d912f9-2903-4993-bdf9-093e7141f3f2" providerId="ADAL" clId="{FFB4E4AB-78F6-44A7-A78E-61C4F8F50297}" dt="2020-01-17T09:59:45.079" v="417" actId="478"/>
          <ac:picMkLst>
            <pc:docMk/>
            <pc:sldMk cId="2721331" sldId="534"/>
            <ac:picMk id="11" creationId="{7521417D-EB88-406E-A02D-403A46FBEE9A}"/>
          </ac:picMkLst>
        </pc:picChg>
        <pc:picChg chg="add">
          <ac:chgData name="Sandra Kamm" userId="35d912f9-2903-4993-bdf9-093e7141f3f2" providerId="ADAL" clId="{FFB4E4AB-78F6-44A7-A78E-61C4F8F50297}" dt="2020-01-17T09:43:44.441" v="109"/>
          <ac:picMkLst>
            <pc:docMk/>
            <pc:sldMk cId="2721331" sldId="534"/>
            <ac:picMk id="16" creationId="{34CB79C4-F727-4D2D-9D0F-7862C416C2B8}"/>
          </ac:picMkLst>
        </pc:picChg>
        <pc:picChg chg="add mod">
          <ac:chgData name="Sandra Kamm" userId="35d912f9-2903-4993-bdf9-093e7141f3f2" providerId="ADAL" clId="{FFB4E4AB-78F6-44A7-A78E-61C4F8F50297}" dt="2020-01-17T10:01:43.827" v="423" actId="1076"/>
          <ac:picMkLst>
            <pc:docMk/>
            <pc:sldMk cId="2721331" sldId="534"/>
            <ac:picMk id="23" creationId="{C7360033-F07F-4875-BD47-864732CD2A64}"/>
          </ac:picMkLst>
        </pc:picChg>
        <pc:picChg chg="add mod">
          <ac:chgData name="Sandra Kamm" userId="35d912f9-2903-4993-bdf9-093e7141f3f2" providerId="ADAL" clId="{FFB4E4AB-78F6-44A7-A78E-61C4F8F50297}" dt="2020-01-17T10:03:09.454" v="450" actId="14100"/>
          <ac:picMkLst>
            <pc:docMk/>
            <pc:sldMk cId="2721331" sldId="534"/>
            <ac:picMk id="28" creationId="{8966CE4B-BA2F-47BB-96FA-B8CB812A02C1}"/>
          </ac:picMkLst>
        </pc:picChg>
      </pc:sldChg>
      <pc:sldChg chg="del">
        <pc:chgData name="Sandra Kamm" userId="35d912f9-2903-4993-bdf9-093e7141f3f2" providerId="ADAL" clId="{FFB4E4AB-78F6-44A7-A78E-61C4F8F50297}" dt="2020-01-17T12:52:32.149" v="1722" actId="47"/>
        <pc:sldMkLst>
          <pc:docMk/>
          <pc:sldMk cId="1534552612" sldId="541"/>
        </pc:sldMkLst>
      </pc:sldChg>
      <pc:sldChg chg="addSp delSp modSp del">
        <pc:chgData name="Sandra Kamm" userId="35d912f9-2903-4993-bdf9-093e7141f3f2" providerId="ADAL" clId="{FFB4E4AB-78F6-44A7-A78E-61C4F8F50297}" dt="2020-01-17T14:15:20.535" v="4447" actId="47"/>
        <pc:sldMkLst>
          <pc:docMk/>
          <pc:sldMk cId="1104073283" sldId="581"/>
        </pc:sldMkLst>
        <pc:spChg chg="del mod">
          <ac:chgData name="Sandra Kamm" userId="35d912f9-2903-4993-bdf9-093e7141f3f2" providerId="ADAL" clId="{FFB4E4AB-78F6-44A7-A78E-61C4F8F50297}" dt="2020-01-17T13:18:27.123" v="2216"/>
          <ac:spMkLst>
            <pc:docMk/>
            <pc:sldMk cId="1104073283" sldId="581"/>
            <ac:spMk id="3" creationId="{7AE2FC88-AEF0-F044-BF2E-3387FE044F08}"/>
          </ac:spMkLst>
        </pc:spChg>
        <pc:spChg chg="add mod">
          <ac:chgData name="Sandra Kamm" userId="35d912f9-2903-4993-bdf9-093e7141f3f2" providerId="ADAL" clId="{FFB4E4AB-78F6-44A7-A78E-61C4F8F50297}" dt="2020-01-17T13:18:27.123" v="2216"/>
          <ac:spMkLst>
            <pc:docMk/>
            <pc:sldMk cId="1104073283" sldId="581"/>
            <ac:spMk id="4" creationId="{B5504814-1FF0-4FF1-946B-046C463C63E4}"/>
          </ac:spMkLst>
        </pc:spChg>
      </pc:sldChg>
      <pc:sldChg chg="addSp delSp modSp modAnim">
        <pc:chgData name="Sandra Kamm" userId="35d912f9-2903-4993-bdf9-093e7141f3f2" providerId="ADAL" clId="{FFB4E4AB-78F6-44A7-A78E-61C4F8F50297}" dt="2020-01-17T09:57:30.524" v="405" actId="5793"/>
        <pc:sldMkLst>
          <pc:docMk/>
          <pc:sldMk cId="3647424271" sldId="582"/>
        </pc:sldMkLst>
        <pc:spChg chg="mod">
          <ac:chgData name="Sandra Kamm" userId="35d912f9-2903-4993-bdf9-093e7141f3f2" providerId="ADAL" clId="{FFB4E4AB-78F6-44A7-A78E-61C4F8F50297}" dt="2020-01-17T09:57:30.524" v="405" actId="5793"/>
          <ac:spMkLst>
            <pc:docMk/>
            <pc:sldMk cId="3647424271" sldId="582"/>
            <ac:spMk id="5" creationId="{53A5996F-A214-714F-BCA6-4DACEFD785BA}"/>
          </ac:spMkLst>
        </pc:spChg>
        <pc:spChg chg="add del mod">
          <ac:chgData name="Sandra Kamm" userId="35d912f9-2903-4993-bdf9-093e7141f3f2" providerId="ADAL" clId="{FFB4E4AB-78F6-44A7-A78E-61C4F8F50297}" dt="2020-01-17T09:54:18.874" v="347" actId="478"/>
          <ac:spMkLst>
            <pc:docMk/>
            <pc:sldMk cId="3647424271" sldId="582"/>
            <ac:spMk id="10" creationId="{06699BA5-3BDB-495D-A25F-93499E255FF8}"/>
          </ac:spMkLst>
        </pc:spChg>
        <pc:spChg chg="add mod">
          <ac:chgData name="Sandra Kamm" userId="35d912f9-2903-4993-bdf9-093e7141f3f2" providerId="ADAL" clId="{FFB4E4AB-78F6-44A7-A78E-61C4F8F50297}" dt="2020-01-17T09:57:15.660" v="394" actId="207"/>
          <ac:spMkLst>
            <pc:docMk/>
            <pc:sldMk cId="3647424271" sldId="582"/>
            <ac:spMk id="11" creationId="{2A238C81-13BF-4BBE-AACB-4540681666B7}"/>
          </ac:spMkLst>
        </pc:spChg>
        <pc:spChg chg="add mod">
          <ac:chgData name="Sandra Kamm" userId="35d912f9-2903-4993-bdf9-093e7141f3f2" providerId="ADAL" clId="{FFB4E4AB-78F6-44A7-A78E-61C4F8F50297}" dt="2020-01-17T09:56:17.856" v="374" actId="1076"/>
          <ac:spMkLst>
            <pc:docMk/>
            <pc:sldMk cId="3647424271" sldId="582"/>
            <ac:spMk id="14" creationId="{700D8D1A-5D3D-4A2E-A5A9-F226DD693CA5}"/>
          </ac:spMkLst>
        </pc:spChg>
        <pc:spChg chg="del mod">
          <ac:chgData name="Sandra Kamm" userId="35d912f9-2903-4993-bdf9-093e7141f3f2" providerId="ADAL" clId="{FFB4E4AB-78F6-44A7-A78E-61C4F8F50297}" dt="2020-01-17T09:45:44.110" v="207" actId="478"/>
          <ac:spMkLst>
            <pc:docMk/>
            <pc:sldMk cId="3647424271" sldId="582"/>
            <ac:spMk id="19" creationId="{316E1B88-D484-6A48-A317-9529384FBCE1}"/>
          </ac:spMkLst>
        </pc:spChg>
        <pc:spChg chg="del mod">
          <ac:chgData name="Sandra Kamm" userId="35d912f9-2903-4993-bdf9-093e7141f3f2" providerId="ADAL" clId="{FFB4E4AB-78F6-44A7-A78E-61C4F8F50297}" dt="2020-01-17T09:45:33.725" v="199" actId="478"/>
          <ac:spMkLst>
            <pc:docMk/>
            <pc:sldMk cId="3647424271" sldId="582"/>
            <ac:spMk id="21" creationId="{B5CF3F2A-951A-6D4B-8327-5BB415A1C1D0}"/>
          </ac:spMkLst>
        </pc:spChg>
        <pc:picChg chg="add mod">
          <ac:chgData name="Sandra Kamm" userId="35d912f9-2903-4993-bdf9-093e7141f3f2" providerId="ADAL" clId="{FFB4E4AB-78F6-44A7-A78E-61C4F8F50297}" dt="2020-01-17T09:49:48.297" v="221" actId="14100"/>
          <ac:picMkLst>
            <pc:docMk/>
            <pc:sldMk cId="3647424271" sldId="582"/>
            <ac:picMk id="3" creationId="{0650A429-4753-4117-AEB8-981B85493D3E}"/>
          </ac:picMkLst>
        </pc:picChg>
        <pc:picChg chg="del mod">
          <ac:chgData name="Sandra Kamm" userId="35d912f9-2903-4993-bdf9-093e7141f3f2" providerId="ADAL" clId="{FFB4E4AB-78F6-44A7-A78E-61C4F8F50297}" dt="2020-01-17T09:45:40.357" v="203" actId="478"/>
          <ac:picMkLst>
            <pc:docMk/>
            <pc:sldMk cId="3647424271" sldId="582"/>
            <ac:picMk id="6" creationId="{1687C821-9FF9-1B41-B6ED-4195270E0E7F}"/>
          </ac:picMkLst>
        </pc:picChg>
        <pc:picChg chg="del mod">
          <ac:chgData name="Sandra Kamm" userId="35d912f9-2903-4993-bdf9-093e7141f3f2" providerId="ADAL" clId="{FFB4E4AB-78F6-44A7-A78E-61C4F8F50297}" dt="2020-01-17T09:45:36.530" v="201" actId="478"/>
          <ac:picMkLst>
            <pc:docMk/>
            <pc:sldMk cId="3647424271" sldId="582"/>
            <ac:picMk id="7" creationId="{AD98057A-604E-1542-A972-ED6F37B810C0}"/>
          </ac:picMkLst>
        </pc:picChg>
        <pc:picChg chg="del mod">
          <ac:chgData name="Sandra Kamm" userId="35d912f9-2903-4993-bdf9-093e7141f3f2" providerId="ADAL" clId="{FFB4E4AB-78F6-44A7-A78E-61C4F8F50297}" dt="2020-01-17T09:45:42.095" v="205" actId="478"/>
          <ac:picMkLst>
            <pc:docMk/>
            <pc:sldMk cId="3647424271" sldId="582"/>
            <ac:picMk id="8" creationId="{7D207D68-C622-F345-9CA0-0901904622B9}"/>
          </ac:picMkLst>
        </pc:picChg>
        <pc:picChg chg="add mod">
          <ac:chgData name="Sandra Kamm" userId="35d912f9-2903-4993-bdf9-093e7141f3f2" providerId="ADAL" clId="{FFB4E4AB-78F6-44A7-A78E-61C4F8F50297}" dt="2020-01-17T09:49:44.519" v="220" actId="1076"/>
          <ac:picMkLst>
            <pc:docMk/>
            <pc:sldMk cId="3647424271" sldId="582"/>
            <ac:picMk id="9" creationId="{4CF1A11B-5BEB-4D59-8A03-177BE89C309F}"/>
          </ac:picMkLst>
        </pc:picChg>
      </pc:sldChg>
      <pc:sldChg chg="del">
        <pc:chgData name="Sandra Kamm" userId="35d912f9-2903-4993-bdf9-093e7141f3f2" providerId="ADAL" clId="{FFB4E4AB-78F6-44A7-A78E-61C4F8F50297}" dt="2020-01-17T12:52:32.149" v="1722" actId="47"/>
        <pc:sldMkLst>
          <pc:docMk/>
          <pc:sldMk cId="2127574128" sldId="583"/>
        </pc:sldMkLst>
      </pc:sldChg>
      <pc:sldChg chg="addSp delSp modSp add delAnim modAnim modNotesTx">
        <pc:chgData name="Sandra Kamm" userId="35d912f9-2903-4993-bdf9-093e7141f3f2" providerId="ADAL" clId="{FFB4E4AB-78F6-44A7-A78E-61C4F8F50297}" dt="2020-01-17T10:10:46.291" v="698" actId="1076"/>
        <pc:sldMkLst>
          <pc:docMk/>
          <pc:sldMk cId="2200607792" sldId="584"/>
        </pc:sldMkLst>
        <pc:spChg chg="add mod">
          <ac:chgData name="Sandra Kamm" userId="35d912f9-2903-4993-bdf9-093e7141f3f2" providerId="ADAL" clId="{FFB4E4AB-78F6-44A7-A78E-61C4F8F50297}" dt="2020-01-17T10:10:15.671" v="694" actId="1076"/>
          <ac:spMkLst>
            <pc:docMk/>
            <pc:sldMk cId="2200607792" sldId="584"/>
            <ac:spMk id="2" creationId="{79B02337-971C-44A4-9759-6546F6D53F97}"/>
          </ac:spMkLst>
        </pc:spChg>
        <pc:spChg chg="mod">
          <ac:chgData name="Sandra Kamm" userId="35d912f9-2903-4993-bdf9-093e7141f3f2" providerId="ADAL" clId="{FFB4E4AB-78F6-44A7-A78E-61C4F8F50297}" dt="2020-01-17T10:06:51.534" v="658" actId="20577"/>
          <ac:spMkLst>
            <pc:docMk/>
            <pc:sldMk cId="2200607792" sldId="584"/>
            <ac:spMk id="5" creationId="{53A5996F-A214-714F-BCA6-4DACEFD785BA}"/>
          </ac:spMkLst>
        </pc:spChg>
        <pc:spChg chg="add del mod">
          <ac:chgData name="Sandra Kamm" userId="35d912f9-2903-4993-bdf9-093e7141f3f2" providerId="ADAL" clId="{FFB4E4AB-78F6-44A7-A78E-61C4F8F50297}" dt="2020-01-17T10:09:44.348" v="689" actId="478"/>
          <ac:spMkLst>
            <pc:docMk/>
            <pc:sldMk cId="2200607792" sldId="584"/>
            <ac:spMk id="7" creationId="{B8721E3D-701B-43D5-B76C-74C85754D716}"/>
          </ac:spMkLst>
        </pc:spChg>
        <pc:spChg chg="add mod">
          <ac:chgData name="Sandra Kamm" userId="35d912f9-2903-4993-bdf9-093e7141f3f2" providerId="ADAL" clId="{FFB4E4AB-78F6-44A7-A78E-61C4F8F50297}" dt="2020-01-17T10:10:46.291" v="698" actId="1076"/>
          <ac:spMkLst>
            <pc:docMk/>
            <pc:sldMk cId="2200607792" sldId="584"/>
            <ac:spMk id="8" creationId="{15CF2511-636D-41FC-964A-EF2971F9886A}"/>
          </ac:spMkLst>
        </pc:spChg>
        <pc:spChg chg="del">
          <ac:chgData name="Sandra Kamm" userId="35d912f9-2903-4993-bdf9-093e7141f3f2" providerId="ADAL" clId="{FFB4E4AB-78F6-44A7-A78E-61C4F8F50297}" dt="2020-01-17T09:55:20.686" v="355" actId="478"/>
          <ac:spMkLst>
            <pc:docMk/>
            <pc:sldMk cId="2200607792" sldId="584"/>
            <ac:spMk id="11" creationId="{2A238C81-13BF-4BBE-AACB-4540681666B7}"/>
          </ac:spMkLst>
        </pc:spChg>
        <pc:picChg chg="del">
          <ac:chgData name="Sandra Kamm" userId="35d912f9-2903-4993-bdf9-093e7141f3f2" providerId="ADAL" clId="{FFB4E4AB-78F6-44A7-A78E-61C4F8F50297}" dt="2020-01-17T09:55:22.550" v="356" actId="478"/>
          <ac:picMkLst>
            <pc:docMk/>
            <pc:sldMk cId="2200607792" sldId="584"/>
            <ac:picMk id="3" creationId="{0650A429-4753-4117-AEB8-981B85493D3E}"/>
          </ac:picMkLst>
        </pc:picChg>
        <pc:picChg chg="del">
          <ac:chgData name="Sandra Kamm" userId="35d912f9-2903-4993-bdf9-093e7141f3f2" providerId="ADAL" clId="{FFB4E4AB-78F6-44A7-A78E-61C4F8F50297}" dt="2020-01-17T09:55:24.768" v="357" actId="478"/>
          <ac:picMkLst>
            <pc:docMk/>
            <pc:sldMk cId="2200607792" sldId="584"/>
            <ac:picMk id="9" creationId="{4CF1A11B-5BEB-4D59-8A03-177BE89C309F}"/>
          </ac:picMkLst>
        </pc:picChg>
      </pc:sldChg>
      <pc:sldChg chg="del">
        <pc:chgData name="Sandra Kamm" userId="35d912f9-2903-4993-bdf9-093e7141f3f2" providerId="ADAL" clId="{FFB4E4AB-78F6-44A7-A78E-61C4F8F50297}" dt="2020-01-17T09:46:48.614" v="208" actId="47"/>
        <pc:sldMkLst>
          <pc:docMk/>
          <pc:sldMk cId="3294459671" sldId="584"/>
        </pc:sldMkLst>
      </pc:sldChg>
      <pc:sldChg chg="modSp add modNotesTx">
        <pc:chgData name="Sandra Kamm" userId="35d912f9-2903-4993-bdf9-093e7141f3f2" providerId="ADAL" clId="{FFB4E4AB-78F6-44A7-A78E-61C4F8F50297}" dt="2020-01-17T10:18:43.870" v="1172" actId="20577"/>
        <pc:sldMkLst>
          <pc:docMk/>
          <pc:sldMk cId="1715946908" sldId="585"/>
        </pc:sldMkLst>
        <pc:spChg chg="mod">
          <ac:chgData name="Sandra Kamm" userId="35d912f9-2903-4993-bdf9-093e7141f3f2" providerId="ADAL" clId="{FFB4E4AB-78F6-44A7-A78E-61C4F8F50297}" dt="2020-01-17T10:15:35.461" v="1060" actId="113"/>
          <ac:spMkLst>
            <pc:docMk/>
            <pc:sldMk cId="1715946908" sldId="585"/>
            <ac:spMk id="2" creationId="{79B02337-971C-44A4-9759-6546F6D53F97}"/>
          </ac:spMkLst>
        </pc:spChg>
        <pc:spChg chg="mod">
          <ac:chgData name="Sandra Kamm" userId="35d912f9-2903-4993-bdf9-093e7141f3f2" providerId="ADAL" clId="{FFB4E4AB-78F6-44A7-A78E-61C4F8F50297}" dt="2020-01-17T10:11:24.783" v="719" actId="20577"/>
          <ac:spMkLst>
            <pc:docMk/>
            <pc:sldMk cId="1715946908" sldId="585"/>
            <ac:spMk id="5" creationId="{53A5996F-A214-714F-BCA6-4DACEFD785BA}"/>
          </ac:spMkLst>
        </pc:spChg>
        <pc:spChg chg="mod">
          <ac:chgData name="Sandra Kamm" userId="35d912f9-2903-4993-bdf9-093e7141f3f2" providerId="ADAL" clId="{FFB4E4AB-78F6-44A7-A78E-61C4F8F50297}" dt="2020-01-17T10:18:43.870" v="1172" actId="20577"/>
          <ac:spMkLst>
            <pc:docMk/>
            <pc:sldMk cId="1715946908" sldId="585"/>
            <ac:spMk id="8" creationId="{15CF2511-636D-41FC-964A-EF2971F9886A}"/>
          </ac:spMkLst>
        </pc:spChg>
      </pc:sldChg>
      <pc:sldChg chg="del">
        <pc:chgData name="Sandra Kamm" userId="35d912f9-2903-4993-bdf9-093e7141f3f2" providerId="ADAL" clId="{FFB4E4AB-78F6-44A7-A78E-61C4F8F50297}" dt="2020-01-17T09:46:48.614" v="208" actId="47"/>
        <pc:sldMkLst>
          <pc:docMk/>
          <pc:sldMk cId="3576588186" sldId="585"/>
        </pc:sldMkLst>
      </pc:sldChg>
      <pc:sldChg chg="del">
        <pc:chgData name="Sandra Kamm" userId="35d912f9-2903-4993-bdf9-093e7141f3f2" providerId="ADAL" clId="{FFB4E4AB-78F6-44A7-A78E-61C4F8F50297}" dt="2020-01-17T09:46:48.614" v="208" actId="47"/>
        <pc:sldMkLst>
          <pc:docMk/>
          <pc:sldMk cId="1572110472" sldId="586"/>
        </pc:sldMkLst>
      </pc:sldChg>
      <pc:sldChg chg="addSp modSp add modAnim modNotesTx">
        <pc:chgData name="Sandra Kamm" userId="35d912f9-2903-4993-bdf9-093e7141f3f2" providerId="ADAL" clId="{FFB4E4AB-78F6-44A7-A78E-61C4F8F50297}" dt="2020-01-17T10:43:09.080" v="1429"/>
        <pc:sldMkLst>
          <pc:docMk/>
          <pc:sldMk cId="2190288850" sldId="586"/>
        </pc:sldMkLst>
        <pc:spChg chg="mod">
          <ac:chgData name="Sandra Kamm" userId="35d912f9-2903-4993-bdf9-093e7141f3f2" providerId="ADAL" clId="{FFB4E4AB-78F6-44A7-A78E-61C4F8F50297}" dt="2020-01-17T10:19:54.522" v="1237" actId="113"/>
          <ac:spMkLst>
            <pc:docMk/>
            <pc:sldMk cId="2190288850" sldId="586"/>
            <ac:spMk id="2" creationId="{79B02337-971C-44A4-9759-6546F6D53F97}"/>
          </ac:spMkLst>
        </pc:spChg>
        <pc:spChg chg="add mod">
          <ac:chgData name="Sandra Kamm" userId="35d912f9-2903-4993-bdf9-093e7141f3f2" providerId="ADAL" clId="{FFB4E4AB-78F6-44A7-A78E-61C4F8F50297}" dt="2020-01-17T10:42:58.277" v="1427" actId="1076"/>
          <ac:spMkLst>
            <pc:docMk/>
            <pc:sldMk cId="2190288850" sldId="586"/>
            <ac:spMk id="3" creationId="{7703D24B-447F-4FAF-8C5D-CDDD8C8D9428}"/>
          </ac:spMkLst>
        </pc:spChg>
        <pc:spChg chg="mod">
          <ac:chgData name="Sandra Kamm" userId="35d912f9-2903-4993-bdf9-093e7141f3f2" providerId="ADAL" clId="{FFB4E4AB-78F6-44A7-A78E-61C4F8F50297}" dt="2020-01-17T10:41:58.289" v="1420" actId="20577"/>
          <ac:spMkLst>
            <pc:docMk/>
            <pc:sldMk cId="2190288850" sldId="586"/>
            <ac:spMk id="5" creationId="{53A5996F-A214-714F-BCA6-4DACEFD785BA}"/>
          </ac:spMkLst>
        </pc:spChg>
        <pc:spChg chg="mod">
          <ac:chgData name="Sandra Kamm" userId="35d912f9-2903-4993-bdf9-093e7141f3f2" providerId="ADAL" clId="{FFB4E4AB-78F6-44A7-A78E-61C4F8F50297}" dt="2020-01-17T10:19:25.019" v="1176" actId="1076"/>
          <ac:spMkLst>
            <pc:docMk/>
            <pc:sldMk cId="2190288850" sldId="586"/>
            <ac:spMk id="8" creationId="{15CF2511-636D-41FC-964A-EF2971F9886A}"/>
          </ac:spMkLst>
        </pc:spChg>
      </pc:sldChg>
      <pc:sldChg chg="del">
        <pc:chgData name="Sandra Kamm" userId="35d912f9-2903-4993-bdf9-093e7141f3f2" providerId="ADAL" clId="{FFB4E4AB-78F6-44A7-A78E-61C4F8F50297}" dt="2020-01-17T09:46:48.614" v="208" actId="47"/>
        <pc:sldMkLst>
          <pc:docMk/>
          <pc:sldMk cId="2534435409" sldId="587"/>
        </pc:sldMkLst>
      </pc:sldChg>
      <pc:sldChg chg="addSp delSp modSp add setBg addAnim delAnim modAnim modNotesTx">
        <pc:chgData name="Sandra Kamm" userId="35d912f9-2903-4993-bdf9-093e7141f3f2" providerId="ADAL" clId="{FFB4E4AB-78F6-44A7-A78E-61C4F8F50297}" dt="2020-01-17T11:06:48.749" v="1676" actId="20577"/>
        <pc:sldMkLst>
          <pc:docMk/>
          <pc:sldMk cId="3067161941" sldId="587"/>
        </pc:sldMkLst>
        <pc:spChg chg="add del mod">
          <ac:chgData name="Sandra Kamm" userId="35d912f9-2903-4993-bdf9-093e7141f3f2" providerId="ADAL" clId="{FFB4E4AB-78F6-44A7-A78E-61C4F8F50297}" dt="2020-01-17T10:37:10.573" v="1301" actId="47"/>
          <ac:spMkLst>
            <pc:docMk/>
            <pc:sldMk cId="3067161941" sldId="587"/>
            <ac:spMk id="2" creationId="{79B02337-971C-44A4-9759-6546F6D53F97}"/>
          </ac:spMkLst>
        </pc:spChg>
        <pc:spChg chg="mod">
          <ac:chgData name="Sandra Kamm" userId="35d912f9-2903-4993-bdf9-093e7141f3f2" providerId="ADAL" clId="{FFB4E4AB-78F6-44A7-A78E-61C4F8F50297}" dt="2020-01-17T10:22:05.812" v="1249" actId="20577"/>
          <ac:spMkLst>
            <pc:docMk/>
            <pc:sldMk cId="3067161941" sldId="587"/>
            <ac:spMk id="5" creationId="{53A5996F-A214-714F-BCA6-4DACEFD785BA}"/>
          </ac:spMkLst>
        </pc:spChg>
        <pc:spChg chg="add mod">
          <ac:chgData name="Sandra Kamm" userId="35d912f9-2903-4993-bdf9-093e7141f3f2" providerId="ADAL" clId="{FFB4E4AB-78F6-44A7-A78E-61C4F8F50297}" dt="2020-01-17T10:38:09.262" v="1323" actId="1076"/>
          <ac:spMkLst>
            <pc:docMk/>
            <pc:sldMk cId="3067161941" sldId="587"/>
            <ac:spMk id="7" creationId="{51F22D21-2287-4701-B83B-BFAE4DB25FB1}"/>
          </ac:spMkLst>
        </pc:spChg>
        <pc:spChg chg="add del mod">
          <ac:chgData name="Sandra Kamm" userId="35d912f9-2903-4993-bdf9-093e7141f3f2" providerId="ADAL" clId="{FFB4E4AB-78F6-44A7-A78E-61C4F8F50297}" dt="2020-01-17T10:37:57.563" v="1319"/>
          <ac:spMkLst>
            <pc:docMk/>
            <pc:sldMk cId="3067161941" sldId="587"/>
            <ac:spMk id="8" creationId="{15CF2511-636D-41FC-964A-EF2971F9886A}"/>
          </ac:spMkLst>
        </pc:spChg>
        <pc:spChg chg="add mod">
          <ac:chgData name="Sandra Kamm" userId="35d912f9-2903-4993-bdf9-093e7141f3f2" providerId="ADAL" clId="{FFB4E4AB-78F6-44A7-A78E-61C4F8F50297}" dt="2020-01-17T10:39:34.583" v="1377" actId="20577"/>
          <ac:spMkLst>
            <pc:docMk/>
            <pc:sldMk cId="3067161941" sldId="587"/>
            <ac:spMk id="9" creationId="{DA34128D-59E8-4481-83F9-DF9E6A1085EC}"/>
          </ac:spMkLst>
        </pc:spChg>
        <pc:graphicFrameChg chg="add del mod modGraphic">
          <ac:chgData name="Sandra Kamm" userId="35d912f9-2903-4993-bdf9-093e7141f3f2" providerId="ADAL" clId="{FFB4E4AB-78F6-44A7-A78E-61C4F8F50297}" dt="2020-01-17T10:48:42.014" v="1435"/>
          <ac:graphicFrameMkLst>
            <pc:docMk/>
            <pc:sldMk cId="3067161941" sldId="587"/>
            <ac:graphicFrameMk id="6" creationId="{86390C5D-3638-408F-88D4-F874201DC901}"/>
          </ac:graphicFrameMkLst>
        </pc:graphicFrameChg>
        <pc:picChg chg="add mod">
          <ac:chgData name="Sandra Kamm" userId="35d912f9-2903-4993-bdf9-093e7141f3f2" providerId="ADAL" clId="{FFB4E4AB-78F6-44A7-A78E-61C4F8F50297}" dt="2020-01-17T10:39:09.400" v="1363" actId="1076"/>
          <ac:picMkLst>
            <pc:docMk/>
            <pc:sldMk cId="3067161941" sldId="587"/>
            <ac:picMk id="4" creationId="{8118F2E5-DFB3-44F3-8AF6-2FDD454AA46E}"/>
          </ac:picMkLst>
        </pc:picChg>
      </pc:sldChg>
      <pc:sldChg chg="del">
        <pc:chgData name="Sandra Kamm" userId="35d912f9-2903-4993-bdf9-093e7141f3f2" providerId="ADAL" clId="{FFB4E4AB-78F6-44A7-A78E-61C4F8F50297}" dt="2020-01-17T09:46:48.614" v="208" actId="47"/>
        <pc:sldMkLst>
          <pc:docMk/>
          <pc:sldMk cId="3364590551" sldId="588"/>
        </pc:sldMkLst>
      </pc:sldChg>
      <pc:sldChg chg="addSp delSp modSp add setBg delAnim modAnim modNotesTx">
        <pc:chgData name="Sandra Kamm" userId="35d912f9-2903-4993-bdf9-093e7141f3f2" providerId="ADAL" clId="{FFB4E4AB-78F6-44A7-A78E-61C4F8F50297}" dt="2020-01-17T11:08:13.684" v="1678" actId="20577"/>
        <pc:sldMkLst>
          <pc:docMk/>
          <pc:sldMk cId="3662609596" sldId="588"/>
        </pc:sldMkLst>
        <pc:spChg chg="mod">
          <ac:chgData name="Sandra Kamm" userId="35d912f9-2903-4993-bdf9-093e7141f3f2" providerId="ADAL" clId="{FFB4E4AB-78F6-44A7-A78E-61C4F8F50297}" dt="2020-01-17T10:58:24.602" v="1580" actId="20577"/>
          <ac:spMkLst>
            <pc:docMk/>
            <pc:sldMk cId="3662609596" sldId="588"/>
            <ac:spMk id="5" creationId="{53A5996F-A214-714F-BCA6-4DACEFD785BA}"/>
          </ac:spMkLst>
        </pc:spChg>
        <pc:spChg chg="del">
          <ac:chgData name="Sandra Kamm" userId="35d912f9-2903-4993-bdf9-093e7141f3f2" providerId="ADAL" clId="{FFB4E4AB-78F6-44A7-A78E-61C4F8F50297}" dt="2020-01-17T10:58:28.938" v="1581" actId="478"/>
          <ac:spMkLst>
            <pc:docMk/>
            <pc:sldMk cId="3662609596" sldId="588"/>
            <ac:spMk id="7" creationId="{51F22D21-2287-4701-B83B-BFAE4DB25FB1}"/>
          </ac:spMkLst>
        </pc:spChg>
        <pc:spChg chg="add mod">
          <ac:chgData name="Sandra Kamm" userId="35d912f9-2903-4993-bdf9-093e7141f3f2" providerId="ADAL" clId="{FFB4E4AB-78F6-44A7-A78E-61C4F8F50297}" dt="2020-01-17T11:01:35.686" v="1673" actId="1076"/>
          <ac:spMkLst>
            <pc:docMk/>
            <pc:sldMk cId="3662609596" sldId="588"/>
            <ac:spMk id="8" creationId="{DB8ADB1B-A4E0-4AFC-AF50-947A3B6A5D99}"/>
          </ac:spMkLst>
        </pc:spChg>
        <pc:spChg chg="del">
          <ac:chgData name="Sandra Kamm" userId="35d912f9-2903-4993-bdf9-093e7141f3f2" providerId="ADAL" clId="{FFB4E4AB-78F6-44A7-A78E-61C4F8F50297}" dt="2020-01-17T10:48:56.452" v="1438" actId="478"/>
          <ac:spMkLst>
            <pc:docMk/>
            <pc:sldMk cId="3662609596" sldId="588"/>
            <ac:spMk id="9" creationId="{DA34128D-59E8-4481-83F9-DF9E6A1085EC}"/>
          </ac:spMkLst>
        </pc:spChg>
        <pc:graphicFrameChg chg="add mod modGraphic">
          <ac:chgData name="Sandra Kamm" userId="35d912f9-2903-4993-bdf9-093e7141f3f2" providerId="ADAL" clId="{FFB4E4AB-78F6-44A7-A78E-61C4F8F50297}" dt="2020-01-17T11:08:13.684" v="1678" actId="20577"/>
          <ac:graphicFrameMkLst>
            <pc:docMk/>
            <pc:sldMk cId="3662609596" sldId="588"/>
            <ac:graphicFrameMk id="3" creationId="{A038AB79-A33B-447C-9E4B-DF0763C61B74}"/>
          </ac:graphicFrameMkLst>
        </pc:graphicFrameChg>
        <pc:picChg chg="del">
          <ac:chgData name="Sandra Kamm" userId="35d912f9-2903-4993-bdf9-093e7141f3f2" providerId="ADAL" clId="{FFB4E4AB-78F6-44A7-A78E-61C4F8F50297}" dt="2020-01-17T10:48:50.619" v="1437" actId="478"/>
          <ac:picMkLst>
            <pc:docMk/>
            <pc:sldMk cId="3662609596" sldId="588"/>
            <ac:picMk id="4" creationId="{8118F2E5-DFB3-44F3-8AF6-2FDD454AA46E}"/>
          </ac:picMkLst>
        </pc:picChg>
      </pc:sldChg>
      <pc:sldChg chg="del">
        <pc:chgData name="Sandra Kamm" userId="35d912f9-2903-4993-bdf9-093e7141f3f2" providerId="ADAL" clId="{FFB4E4AB-78F6-44A7-A78E-61C4F8F50297}" dt="2020-01-17T09:46:48.614" v="208" actId="47"/>
        <pc:sldMkLst>
          <pc:docMk/>
          <pc:sldMk cId="349185153" sldId="589"/>
        </pc:sldMkLst>
      </pc:sldChg>
      <pc:sldChg chg="add">
        <pc:chgData name="Sandra Kamm" userId="35d912f9-2903-4993-bdf9-093e7141f3f2" providerId="ADAL" clId="{FFB4E4AB-78F6-44A7-A78E-61C4F8F50297}" dt="2020-01-17T11:10:09.552" v="1679"/>
        <pc:sldMkLst>
          <pc:docMk/>
          <pc:sldMk cId="2754892909" sldId="589"/>
        </pc:sldMkLst>
      </pc:sldChg>
      <pc:sldChg chg="del">
        <pc:chgData name="Sandra Kamm" userId="35d912f9-2903-4993-bdf9-093e7141f3f2" providerId="ADAL" clId="{FFB4E4AB-78F6-44A7-A78E-61C4F8F50297}" dt="2020-01-17T09:46:48.614" v="208" actId="47"/>
        <pc:sldMkLst>
          <pc:docMk/>
          <pc:sldMk cId="168377296" sldId="590"/>
        </pc:sldMkLst>
      </pc:sldChg>
      <pc:sldChg chg="addSp delSp modSp add delAnim modNotesTx">
        <pc:chgData name="Sandra Kamm" userId="35d912f9-2903-4993-bdf9-093e7141f3f2" providerId="ADAL" clId="{FFB4E4AB-78F6-44A7-A78E-61C4F8F50297}" dt="2020-01-17T14:15:14.984" v="4446" actId="6549"/>
        <pc:sldMkLst>
          <pc:docMk/>
          <pc:sldMk cId="1423919647" sldId="590"/>
        </pc:sldMkLst>
        <pc:spChg chg="mod">
          <ac:chgData name="Sandra Kamm" userId="35d912f9-2903-4993-bdf9-093e7141f3f2" providerId="ADAL" clId="{FFB4E4AB-78F6-44A7-A78E-61C4F8F50297}" dt="2020-01-17T11:10:22.499" v="1711" actId="20577"/>
          <ac:spMkLst>
            <pc:docMk/>
            <pc:sldMk cId="1423919647" sldId="590"/>
            <ac:spMk id="5" creationId="{53A5996F-A214-714F-BCA6-4DACEFD785BA}"/>
          </ac:spMkLst>
        </pc:spChg>
        <pc:spChg chg="del">
          <ac:chgData name="Sandra Kamm" userId="35d912f9-2903-4993-bdf9-093e7141f3f2" providerId="ADAL" clId="{FFB4E4AB-78F6-44A7-A78E-61C4F8F50297}" dt="2020-01-17T11:10:26.372" v="1712" actId="478"/>
          <ac:spMkLst>
            <pc:docMk/>
            <pc:sldMk cId="1423919647" sldId="590"/>
            <ac:spMk id="8" creationId="{DB8ADB1B-A4E0-4AFC-AF50-947A3B6A5D99}"/>
          </ac:spMkLst>
        </pc:spChg>
        <pc:graphicFrameChg chg="del">
          <ac:chgData name="Sandra Kamm" userId="35d912f9-2903-4993-bdf9-093e7141f3f2" providerId="ADAL" clId="{FFB4E4AB-78F6-44A7-A78E-61C4F8F50297}" dt="2020-01-17T11:10:29.014" v="1713" actId="478"/>
          <ac:graphicFrameMkLst>
            <pc:docMk/>
            <pc:sldMk cId="1423919647" sldId="590"/>
            <ac:graphicFrameMk id="3" creationId="{A038AB79-A33B-447C-9E4B-DF0763C61B74}"/>
          </ac:graphicFrameMkLst>
        </pc:graphicFrameChg>
        <pc:picChg chg="add mod">
          <ac:chgData name="Sandra Kamm" userId="35d912f9-2903-4993-bdf9-093e7141f3f2" providerId="ADAL" clId="{FFB4E4AB-78F6-44A7-A78E-61C4F8F50297}" dt="2020-01-17T13:03:16.990" v="1791" actId="1076"/>
          <ac:picMkLst>
            <pc:docMk/>
            <pc:sldMk cId="1423919647" sldId="590"/>
            <ac:picMk id="4" creationId="{C7D14CF8-E168-4867-8E0A-CE510AB53E97}"/>
          </ac:picMkLst>
        </pc:picChg>
      </pc:sldChg>
      <pc:sldChg chg="modSp add">
        <pc:chgData name="Sandra Kamm" userId="35d912f9-2903-4993-bdf9-093e7141f3f2" providerId="ADAL" clId="{FFB4E4AB-78F6-44A7-A78E-61C4F8F50297}" dt="2020-01-17T12:57:36.842" v="1761" actId="20577"/>
        <pc:sldMkLst>
          <pc:docMk/>
          <pc:sldMk cId="48175560" sldId="591"/>
        </pc:sldMkLst>
        <pc:spChg chg="mod">
          <ac:chgData name="Sandra Kamm" userId="35d912f9-2903-4993-bdf9-093e7141f3f2" providerId="ADAL" clId="{FFB4E4AB-78F6-44A7-A78E-61C4F8F50297}" dt="2020-01-17T12:57:36.842" v="1761" actId="20577"/>
          <ac:spMkLst>
            <pc:docMk/>
            <pc:sldMk cId="48175560" sldId="591"/>
            <ac:spMk id="20" creationId="{BA3E5147-7F01-F940-817A-67ABDAC1C801}"/>
          </ac:spMkLst>
        </pc:spChg>
      </pc:sldChg>
      <pc:sldChg chg="del">
        <pc:chgData name="Sandra Kamm" userId="35d912f9-2903-4993-bdf9-093e7141f3f2" providerId="ADAL" clId="{FFB4E4AB-78F6-44A7-A78E-61C4F8F50297}" dt="2020-01-17T09:46:48.614" v="208" actId="47"/>
        <pc:sldMkLst>
          <pc:docMk/>
          <pc:sldMk cId="3709009637" sldId="591"/>
        </pc:sldMkLst>
      </pc:sldChg>
      <pc:sldChg chg="addSp delSp modSp add ord delAnim modNotesTx">
        <pc:chgData name="Sandra Kamm" userId="35d912f9-2903-4993-bdf9-093e7141f3f2" providerId="ADAL" clId="{FFB4E4AB-78F6-44A7-A78E-61C4F8F50297}" dt="2020-01-17T14:19:59.399" v="4514" actId="1076"/>
        <pc:sldMkLst>
          <pc:docMk/>
          <pc:sldMk cId="923983945" sldId="592"/>
        </pc:sldMkLst>
        <pc:spChg chg="mod">
          <ac:chgData name="Sandra Kamm" userId="35d912f9-2903-4993-bdf9-093e7141f3f2" providerId="ADAL" clId="{FFB4E4AB-78F6-44A7-A78E-61C4F8F50297}" dt="2020-01-17T14:19:52.877" v="4513" actId="1076"/>
          <ac:spMkLst>
            <pc:docMk/>
            <pc:sldMk cId="923983945" sldId="592"/>
            <ac:spMk id="2" creationId="{79B02337-971C-44A4-9759-6546F6D53F97}"/>
          </ac:spMkLst>
        </pc:spChg>
        <pc:spChg chg="del">
          <ac:chgData name="Sandra Kamm" userId="35d912f9-2903-4993-bdf9-093e7141f3f2" providerId="ADAL" clId="{FFB4E4AB-78F6-44A7-A78E-61C4F8F50297}" dt="2020-01-17T12:53:09.357" v="1728" actId="478"/>
          <ac:spMkLst>
            <pc:docMk/>
            <pc:sldMk cId="923983945" sldId="592"/>
            <ac:spMk id="3" creationId="{7703D24B-447F-4FAF-8C5D-CDDD8C8D9428}"/>
          </ac:spMkLst>
        </pc:spChg>
        <pc:spChg chg="mod">
          <ac:chgData name="Sandra Kamm" userId="35d912f9-2903-4993-bdf9-093e7141f3f2" providerId="ADAL" clId="{FFB4E4AB-78F6-44A7-A78E-61C4F8F50297}" dt="2020-01-17T12:57:54.933" v="1788" actId="20577"/>
          <ac:spMkLst>
            <pc:docMk/>
            <pc:sldMk cId="923983945" sldId="592"/>
            <ac:spMk id="5" creationId="{53A5996F-A214-714F-BCA6-4DACEFD785BA}"/>
          </ac:spMkLst>
        </pc:spChg>
        <pc:spChg chg="del">
          <ac:chgData name="Sandra Kamm" userId="35d912f9-2903-4993-bdf9-093e7141f3f2" providerId="ADAL" clId="{FFB4E4AB-78F6-44A7-A78E-61C4F8F50297}" dt="2020-01-17T13:04:14.253" v="1866" actId="478"/>
          <ac:spMkLst>
            <pc:docMk/>
            <pc:sldMk cId="923983945" sldId="592"/>
            <ac:spMk id="8" creationId="{15CF2511-636D-41FC-964A-EF2971F9886A}"/>
          </ac:spMkLst>
        </pc:spChg>
        <pc:picChg chg="add mod">
          <ac:chgData name="Sandra Kamm" userId="35d912f9-2903-4993-bdf9-093e7141f3f2" providerId="ADAL" clId="{FFB4E4AB-78F6-44A7-A78E-61C4F8F50297}" dt="2020-01-17T14:19:59.399" v="4514" actId="1076"/>
          <ac:picMkLst>
            <pc:docMk/>
            <pc:sldMk cId="923983945" sldId="592"/>
            <ac:picMk id="6" creationId="{A4765420-E3A9-406B-BF47-12141D0BB957}"/>
          </ac:picMkLst>
        </pc:picChg>
      </pc:sldChg>
      <pc:sldChg chg="del">
        <pc:chgData name="Sandra Kamm" userId="35d912f9-2903-4993-bdf9-093e7141f3f2" providerId="ADAL" clId="{FFB4E4AB-78F6-44A7-A78E-61C4F8F50297}" dt="2020-01-17T09:46:48.614" v="208" actId="47"/>
        <pc:sldMkLst>
          <pc:docMk/>
          <pc:sldMk cId="3261967758" sldId="592"/>
        </pc:sldMkLst>
      </pc:sldChg>
      <pc:sldChg chg="add del setBg modNotesTx">
        <pc:chgData name="Sandra Kamm" userId="35d912f9-2903-4993-bdf9-093e7141f3f2" providerId="ADAL" clId="{FFB4E4AB-78F6-44A7-A78E-61C4F8F50297}" dt="2020-01-17T12:52:53.123" v="1725" actId="47"/>
        <pc:sldMkLst>
          <pc:docMk/>
          <pc:sldMk cId="3564302486" sldId="592"/>
        </pc:sldMkLst>
      </pc:sldChg>
      <pc:sldChg chg="addSp delSp modSp add delAnim modAnim">
        <pc:chgData name="Sandra Kamm" userId="35d912f9-2903-4993-bdf9-093e7141f3f2" providerId="ADAL" clId="{FFB4E4AB-78F6-44A7-A78E-61C4F8F50297}" dt="2020-01-17T13:38:52.183" v="2955" actId="1076"/>
        <pc:sldMkLst>
          <pc:docMk/>
          <pc:sldMk cId="934062113" sldId="593"/>
        </pc:sldMkLst>
        <pc:spChg chg="add del mod">
          <ac:chgData name="Sandra Kamm" userId="35d912f9-2903-4993-bdf9-093e7141f3f2" providerId="ADAL" clId="{FFB4E4AB-78F6-44A7-A78E-61C4F8F50297}" dt="2020-01-17T13:38:49.983" v="2954" actId="20577"/>
          <ac:spMkLst>
            <pc:docMk/>
            <pc:sldMk cId="934062113" sldId="593"/>
            <ac:spMk id="2" creationId="{79B02337-971C-44A4-9759-6546F6D53F97}"/>
          </ac:spMkLst>
        </pc:spChg>
        <pc:spChg chg="mod">
          <ac:chgData name="Sandra Kamm" userId="35d912f9-2903-4993-bdf9-093e7141f3f2" providerId="ADAL" clId="{FFB4E4AB-78F6-44A7-A78E-61C4F8F50297}" dt="2020-01-17T13:36:35.667" v="2746" actId="20577"/>
          <ac:spMkLst>
            <pc:docMk/>
            <pc:sldMk cId="934062113" sldId="593"/>
            <ac:spMk id="5" creationId="{53A5996F-A214-714F-BCA6-4DACEFD785BA}"/>
          </ac:spMkLst>
        </pc:spChg>
        <pc:spChg chg="add del mod">
          <ac:chgData name="Sandra Kamm" userId="35d912f9-2903-4993-bdf9-093e7141f3f2" providerId="ADAL" clId="{FFB4E4AB-78F6-44A7-A78E-61C4F8F50297}" dt="2020-01-17T13:38:40.139" v="2951" actId="478"/>
          <ac:spMkLst>
            <pc:docMk/>
            <pc:sldMk cId="934062113" sldId="593"/>
            <ac:spMk id="6" creationId="{F67CE500-EFEA-4EA7-A75D-EE1414F798E6}"/>
          </ac:spMkLst>
        </pc:spChg>
        <pc:spChg chg="add mod">
          <ac:chgData name="Sandra Kamm" userId="35d912f9-2903-4993-bdf9-093e7141f3f2" providerId="ADAL" clId="{FFB4E4AB-78F6-44A7-A78E-61C4F8F50297}" dt="2020-01-17T13:18:34.931" v="2218" actId="1076"/>
          <ac:spMkLst>
            <pc:docMk/>
            <pc:sldMk cId="934062113" sldId="593"/>
            <ac:spMk id="7" creationId="{DC629D2C-1C55-41FA-A95E-AE63902BE89F}"/>
          </ac:spMkLst>
        </pc:spChg>
        <pc:spChg chg="del">
          <ac:chgData name="Sandra Kamm" userId="35d912f9-2903-4993-bdf9-093e7141f3f2" providerId="ADAL" clId="{FFB4E4AB-78F6-44A7-A78E-61C4F8F50297}" dt="2020-01-17T13:13:57.886" v="2027" actId="478"/>
          <ac:spMkLst>
            <pc:docMk/>
            <pc:sldMk cId="934062113" sldId="593"/>
            <ac:spMk id="8" creationId="{15CF2511-636D-41FC-964A-EF2971F9886A}"/>
          </ac:spMkLst>
        </pc:spChg>
        <pc:picChg chg="add del mod">
          <ac:chgData name="Sandra Kamm" userId="35d912f9-2903-4993-bdf9-093e7141f3f2" providerId="ADAL" clId="{FFB4E4AB-78F6-44A7-A78E-61C4F8F50297}" dt="2020-01-17T13:18:49.524" v="2219" actId="478"/>
          <ac:picMkLst>
            <pc:docMk/>
            <pc:sldMk cId="934062113" sldId="593"/>
            <ac:picMk id="3" creationId="{0F94C943-749D-4C42-8471-FAB6D39D13C1}"/>
          </ac:picMkLst>
        </pc:picChg>
        <pc:picChg chg="add del mod">
          <ac:chgData name="Sandra Kamm" userId="35d912f9-2903-4993-bdf9-093e7141f3f2" providerId="ADAL" clId="{FFB4E4AB-78F6-44A7-A78E-61C4F8F50297}" dt="2020-01-17T13:36:39.879" v="2747" actId="478"/>
          <ac:picMkLst>
            <pc:docMk/>
            <pc:sldMk cId="934062113" sldId="593"/>
            <ac:picMk id="4" creationId="{1DDA7212-5900-48BC-8EF1-BCD124622B46}"/>
          </ac:picMkLst>
        </pc:picChg>
        <pc:picChg chg="add del mod modCrop">
          <ac:chgData name="Sandra Kamm" userId="35d912f9-2903-4993-bdf9-093e7141f3f2" providerId="ADAL" clId="{FFB4E4AB-78F6-44A7-A78E-61C4F8F50297}" dt="2020-01-17T13:38:12.810" v="2949" actId="478"/>
          <ac:picMkLst>
            <pc:docMk/>
            <pc:sldMk cId="934062113" sldId="593"/>
            <ac:picMk id="9" creationId="{355FB89A-B85D-4AB8-9976-93822AD95748}"/>
          </ac:picMkLst>
        </pc:picChg>
        <pc:picChg chg="add mod">
          <ac:chgData name="Sandra Kamm" userId="35d912f9-2903-4993-bdf9-093e7141f3f2" providerId="ADAL" clId="{FFB4E4AB-78F6-44A7-A78E-61C4F8F50297}" dt="2020-01-17T13:38:52.183" v="2955" actId="1076"/>
          <ac:picMkLst>
            <pc:docMk/>
            <pc:sldMk cId="934062113" sldId="593"/>
            <ac:picMk id="10" creationId="{289A7E00-0E91-4A7F-ABB1-55D67DE47F8A}"/>
          </ac:picMkLst>
        </pc:picChg>
      </pc:sldChg>
      <pc:sldChg chg="del">
        <pc:chgData name="Sandra Kamm" userId="35d912f9-2903-4993-bdf9-093e7141f3f2" providerId="ADAL" clId="{FFB4E4AB-78F6-44A7-A78E-61C4F8F50297}" dt="2020-01-17T09:46:48.614" v="208" actId="47"/>
        <pc:sldMkLst>
          <pc:docMk/>
          <pc:sldMk cId="1228985499" sldId="593"/>
        </pc:sldMkLst>
      </pc:sldChg>
      <pc:sldChg chg="del">
        <pc:chgData name="Sandra Kamm" userId="35d912f9-2903-4993-bdf9-093e7141f3f2" providerId="ADAL" clId="{FFB4E4AB-78F6-44A7-A78E-61C4F8F50297}" dt="2020-01-17T09:46:48.614" v="208" actId="47"/>
        <pc:sldMkLst>
          <pc:docMk/>
          <pc:sldMk cId="1471398088" sldId="594"/>
        </pc:sldMkLst>
      </pc:sldChg>
      <pc:sldChg chg="addSp delSp modSp add delAnim modAnim modNotesTx">
        <pc:chgData name="Sandra Kamm" userId="35d912f9-2903-4993-bdf9-093e7141f3f2" providerId="ADAL" clId="{FFB4E4AB-78F6-44A7-A78E-61C4F8F50297}" dt="2020-01-17T14:07:01.029" v="4049" actId="20577"/>
        <pc:sldMkLst>
          <pc:docMk/>
          <pc:sldMk cId="3450247597" sldId="594"/>
        </pc:sldMkLst>
        <pc:spChg chg="mod">
          <ac:chgData name="Sandra Kamm" userId="35d912f9-2903-4993-bdf9-093e7141f3f2" providerId="ADAL" clId="{FFB4E4AB-78F6-44A7-A78E-61C4F8F50297}" dt="2020-01-17T13:58:30.437" v="3592" actId="207"/>
          <ac:spMkLst>
            <pc:docMk/>
            <pc:sldMk cId="3450247597" sldId="594"/>
            <ac:spMk id="2" creationId="{79B02337-971C-44A4-9759-6546F6D53F97}"/>
          </ac:spMkLst>
        </pc:spChg>
        <pc:spChg chg="add del mod">
          <ac:chgData name="Sandra Kamm" userId="35d912f9-2903-4993-bdf9-093e7141f3f2" providerId="ADAL" clId="{FFB4E4AB-78F6-44A7-A78E-61C4F8F50297}" dt="2020-01-17T13:21:49.960" v="2245"/>
          <ac:spMkLst>
            <pc:docMk/>
            <pc:sldMk cId="3450247597" sldId="594"/>
            <ac:spMk id="3" creationId="{E51847BF-58D0-4C6F-9273-D15D893135BB}"/>
          </ac:spMkLst>
        </pc:spChg>
        <pc:spChg chg="mod">
          <ac:chgData name="Sandra Kamm" userId="35d912f9-2903-4993-bdf9-093e7141f3f2" providerId="ADAL" clId="{FFB4E4AB-78F6-44A7-A78E-61C4F8F50297}" dt="2020-01-17T13:25:33.755" v="2287" actId="20577"/>
          <ac:spMkLst>
            <pc:docMk/>
            <pc:sldMk cId="3450247597" sldId="594"/>
            <ac:spMk id="5" creationId="{53A5996F-A214-714F-BCA6-4DACEFD785BA}"/>
          </ac:spMkLst>
        </pc:spChg>
        <pc:spChg chg="del">
          <ac:chgData name="Sandra Kamm" userId="35d912f9-2903-4993-bdf9-093e7141f3f2" providerId="ADAL" clId="{FFB4E4AB-78F6-44A7-A78E-61C4F8F50297}" dt="2020-01-17T13:25:50.209" v="2288" actId="478"/>
          <ac:spMkLst>
            <pc:docMk/>
            <pc:sldMk cId="3450247597" sldId="594"/>
            <ac:spMk id="6" creationId="{F67CE500-EFEA-4EA7-A75D-EE1414F798E6}"/>
          </ac:spMkLst>
        </pc:spChg>
        <pc:spChg chg="add del mod">
          <ac:chgData name="Sandra Kamm" userId="35d912f9-2903-4993-bdf9-093e7141f3f2" providerId="ADAL" clId="{FFB4E4AB-78F6-44A7-A78E-61C4F8F50297}" dt="2020-01-17T13:48:48.540" v="3422" actId="11529"/>
          <ac:spMkLst>
            <pc:docMk/>
            <pc:sldMk cId="3450247597" sldId="594"/>
            <ac:spMk id="9" creationId="{1FF37EDE-8ACF-43DC-A70F-7C68464D0ACF}"/>
          </ac:spMkLst>
        </pc:spChg>
        <pc:spChg chg="add mod">
          <ac:chgData name="Sandra Kamm" userId="35d912f9-2903-4993-bdf9-093e7141f3f2" providerId="ADAL" clId="{FFB4E4AB-78F6-44A7-A78E-61C4F8F50297}" dt="2020-01-17T13:58:03.806" v="3590" actId="255"/>
          <ac:spMkLst>
            <pc:docMk/>
            <pc:sldMk cId="3450247597" sldId="594"/>
            <ac:spMk id="23" creationId="{D15EDDB1-DC0D-4908-AC4F-C8BDEF8BC5CA}"/>
          </ac:spMkLst>
        </pc:spChg>
        <pc:spChg chg="add mod">
          <ac:chgData name="Sandra Kamm" userId="35d912f9-2903-4993-bdf9-093e7141f3f2" providerId="ADAL" clId="{FFB4E4AB-78F6-44A7-A78E-61C4F8F50297}" dt="2020-01-17T13:56:01.926" v="3503" actId="113"/>
          <ac:spMkLst>
            <pc:docMk/>
            <pc:sldMk cId="3450247597" sldId="594"/>
            <ac:spMk id="24" creationId="{FDBC66BC-D40C-4858-B247-F4D55104E0CF}"/>
          </ac:spMkLst>
        </pc:spChg>
        <pc:spChg chg="add mod">
          <ac:chgData name="Sandra Kamm" userId="35d912f9-2903-4993-bdf9-093e7141f3f2" providerId="ADAL" clId="{FFB4E4AB-78F6-44A7-A78E-61C4F8F50297}" dt="2020-01-17T13:57:00.155" v="3532" actId="1076"/>
          <ac:spMkLst>
            <pc:docMk/>
            <pc:sldMk cId="3450247597" sldId="594"/>
            <ac:spMk id="26" creationId="{A278092F-0F80-410D-91AC-D5CA611DC7E2}"/>
          </ac:spMkLst>
        </pc:spChg>
        <pc:picChg chg="del">
          <ac:chgData name="Sandra Kamm" userId="35d912f9-2903-4993-bdf9-093e7141f3f2" providerId="ADAL" clId="{FFB4E4AB-78F6-44A7-A78E-61C4F8F50297}" dt="2020-01-17T13:21:37.209" v="2241" actId="478"/>
          <ac:picMkLst>
            <pc:docMk/>
            <pc:sldMk cId="3450247597" sldId="594"/>
            <ac:picMk id="4" creationId="{1DDA7212-5900-48BC-8EF1-BCD124622B46}"/>
          </ac:picMkLst>
        </pc:picChg>
        <pc:picChg chg="add del mod">
          <ac:chgData name="Sandra Kamm" userId="35d912f9-2903-4993-bdf9-093e7141f3f2" providerId="ADAL" clId="{FFB4E4AB-78F6-44A7-A78E-61C4F8F50297}" dt="2020-01-17T13:52:32.083" v="3453" actId="478"/>
          <ac:picMkLst>
            <pc:docMk/>
            <pc:sldMk cId="3450247597" sldId="594"/>
            <ac:picMk id="8" creationId="{6EC588EA-D308-4545-9A8F-54CA165AD3EE}"/>
          </ac:picMkLst>
        </pc:picChg>
        <pc:picChg chg="add mod">
          <ac:chgData name="Sandra Kamm" userId="35d912f9-2903-4993-bdf9-093e7141f3f2" providerId="ADAL" clId="{FFB4E4AB-78F6-44A7-A78E-61C4F8F50297}" dt="2020-01-17T13:53:23.281" v="3456" actId="1076"/>
          <ac:picMkLst>
            <pc:docMk/>
            <pc:sldMk cId="3450247597" sldId="594"/>
            <ac:picMk id="22" creationId="{FE5B5E65-F134-41C0-9B74-26A411594626}"/>
          </ac:picMkLst>
        </pc:picChg>
        <pc:picChg chg="add del">
          <ac:chgData name="Sandra Kamm" userId="35d912f9-2903-4993-bdf9-093e7141f3f2" providerId="ADAL" clId="{FFB4E4AB-78F6-44A7-A78E-61C4F8F50297}" dt="2020-01-17T13:56:25.700" v="3507" actId="478"/>
          <ac:picMkLst>
            <pc:docMk/>
            <pc:sldMk cId="3450247597" sldId="594"/>
            <ac:picMk id="25" creationId="{90B1CA85-5A73-4191-AC3E-70FDDECFAD9B}"/>
          </ac:picMkLst>
        </pc:picChg>
        <pc:cxnChg chg="add del mod">
          <ac:chgData name="Sandra Kamm" userId="35d912f9-2903-4993-bdf9-093e7141f3f2" providerId="ADAL" clId="{FFB4E4AB-78F6-44A7-A78E-61C4F8F50297}" dt="2020-01-17T13:50:19.975" v="3426" actId="11529"/>
          <ac:cxnSpMkLst>
            <pc:docMk/>
            <pc:sldMk cId="3450247597" sldId="594"/>
            <ac:cxnSpMk id="11" creationId="{55857C79-0533-4EDA-A495-03DD1A7AADCE}"/>
          </ac:cxnSpMkLst>
        </pc:cxnChg>
        <pc:cxnChg chg="add del mod">
          <ac:chgData name="Sandra Kamm" userId="35d912f9-2903-4993-bdf9-093e7141f3f2" providerId="ADAL" clId="{FFB4E4AB-78F6-44A7-A78E-61C4F8F50297}" dt="2020-01-17T13:52:27.561" v="3452" actId="11529"/>
          <ac:cxnSpMkLst>
            <pc:docMk/>
            <pc:sldMk cId="3450247597" sldId="594"/>
            <ac:cxnSpMk id="14" creationId="{98A3E5FA-378A-4606-ACF4-7F8FD570C20F}"/>
          </ac:cxnSpMkLst>
        </pc:cxnChg>
        <pc:cxnChg chg="add del mod">
          <ac:chgData name="Sandra Kamm" userId="35d912f9-2903-4993-bdf9-093e7141f3f2" providerId="ADAL" clId="{FFB4E4AB-78F6-44A7-A78E-61C4F8F50297}" dt="2020-01-17T13:52:24.714" v="3449"/>
          <ac:cxnSpMkLst>
            <pc:docMk/>
            <pc:sldMk cId="3450247597" sldId="594"/>
            <ac:cxnSpMk id="15" creationId="{A975B974-62E7-490C-BD4A-52CCD81D7618}"/>
          </ac:cxnSpMkLst>
        </pc:cxnChg>
        <pc:cxnChg chg="add del mod">
          <ac:chgData name="Sandra Kamm" userId="35d912f9-2903-4993-bdf9-093e7141f3f2" providerId="ADAL" clId="{FFB4E4AB-78F6-44A7-A78E-61C4F8F50297}" dt="2020-01-17T13:52:22.316" v="3446"/>
          <ac:cxnSpMkLst>
            <pc:docMk/>
            <pc:sldMk cId="3450247597" sldId="594"/>
            <ac:cxnSpMk id="17" creationId="{541BC289-0F8D-4BFB-9697-EA0E47AF05CF}"/>
          </ac:cxnSpMkLst>
        </pc:cxnChg>
      </pc:sldChg>
      <pc:sldChg chg="del">
        <pc:chgData name="Sandra Kamm" userId="35d912f9-2903-4993-bdf9-093e7141f3f2" providerId="ADAL" clId="{FFB4E4AB-78F6-44A7-A78E-61C4F8F50297}" dt="2020-01-17T09:46:48.614" v="208" actId="47"/>
        <pc:sldMkLst>
          <pc:docMk/>
          <pc:sldMk cId="53629210" sldId="595"/>
        </pc:sldMkLst>
      </pc:sldChg>
      <pc:sldChg chg="delSp modSp add delAnim modNotesTx">
        <pc:chgData name="Sandra Kamm" userId="35d912f9-2903-4993-bdf9-093e7141f3f2" providerId="ADAL" clId="{FFB4E4AB-78F6-44A7-A78E-61C4F8F50297}" dt="2020-01-17T14:03:06.221" v="3828" actId="20577"/>
        <pc:sldMkLst>
          <pc:docMk/>
          <pc:sldMk cId="2176194404" sldId="595"/>
        </pc:sldMkLst>
        <pc:spChg chg="mod">
          <ac:chgData name="Sandra Kamm" userId="35d912f9-2903-4993-bdf9-093e7141f3f2" providerId="ADAL" clId="{FFB4E4AB-78F6-44A7-A78E-61C4F8F50297}" dt="2020-01-17T14:03:06.221" v="3828" actId="20577"/>
          <ac:spMkLst>
            <pc:docMk/>
            <pc:sldMk cId="2176194404" sldId="595"/>
            <ac:spMk id="2" creationId="{79B02337-971C-44A4-9759-6546F6D53F97}"/>
          </ac:spMkLst>
        </pc:spChg>
        <pc:spChg chg="mod">
          <ac:chgData name="Sandra Kamm" userId="35d912f9-2903-4993-bdf9-093e7141f3f2" providerId="ADAL" clId="{FFB4E4AB-78F6-44A7-A78E-61C4F8F50297}" dt="2020-01-17T14:01:18.015" v="3607" actId="20577"/>
          <ac:spMkLst>
            <pc:docMk/>
            <pc:sldMk cId="2176194404" sldId="595"/>
            <ac:spMk id="5" creationId="{53A5996F-A214-714F-BCA6-4DACEFD785BA}"/>
          </ac:spMkLst>
        </pc:spChg>
        <pc:picChg chg="del">
          <ac:chgData name="Sandra Kamm" userId="35d912f9-2903-4993-bdf9-093e7141f3f2" providerId="ADAL" clId="{FFB4E4AB-78F6-44A7-A78E-61C4F8F50297}" dt="2020-01-17T14:02:38.435" v="3740" actId="478"/>
          <ac:picMkLst>
            <pc:docMk/>
            <pc:sldMk cId="2176194404" sldId="595"/>
            <ac:picMk id="8" creationId="{6EC588EA-D308-4545-9A8F-54CA165AD3EE}"/>
          </ac:picMkLst>
        </pc:picChg>
      </pc:sldChg>
      <pc:sldChg chg="add">
        <pc:chgData name="Sandra Kamm" userId="35d912f9-2903-4993-bdf9-093e7141f3f2" providerId="ADAL" clId="{FFB4E4AB-78F6-44A7-A78E-61C4F8F50297}" dt="2020-01-17T13:35:43.510" v="2731"/>
        <pc:sldMkLst>
          <pc:docMk/>
          <pc:sldMk cId="1457851663" sldId="596"/>
        </pc:sldMkLst>
      </pc:sldChg>
      <pc:sldChg chg="del">
        <pc:chgData name="Sandra Kamm" userId="35d912f9-2903-4993-bdf9-093e7141f3f2" providerId="ADAL" clId="{FFB4E4AB-78F6-44A7-A78E-61C4F8F50297}" dt="2020-01-17T09:46:48.614" v="208" actId="47"/>
        <pc:sldMkLst>
          <pc:docMk/>
          <pc:sldMk cId="2584059629" sldId="596"/>
        </pc:sldMkLst>
      </pc:sldChg>
      <pc:sldChg chg="del">
        <pc:chgData name="Sandra Kamm" userId="35d912f9-2903-4993-bdf9-093e7141f3f2" providerId="ADAL" clId="{FFB4E4AB-78F6-44A7-A78E-61C4F8F50297}" dt="2020-01-17T09:46:48.614" v="208" actId="47"/>
        <pc:sldMkLst>
          <pc:docMk/>
          <pc:sldMk cId="2705581314" sldId="597"/>
        </pc:sldMkLst>
      </pc:sldChg>
      <pc:sldChg chg="addSp delSp modSp add modAnim">
        <pc:chgData name="Sandra Kamm" userId="35d912f9-2903-4993-bdf9-093e7141f3f2" providerId="ADAL" clId="{FFB4E4AB-78F6-44A7-A78E-61C4F8F50297}" dt="2020-01-17T13:43:01.358" v="3120"/>
        <pc:sldMkLst>
          <pc:docMk/>
          <pc:sldMk cId="2758471548" sldId="597"/>
        </pc:sldMkLst>
        <pc:spChg chg="mod">
          <ac:chgData name="Sandra Kamm" userId="35d912f9-2903-4993-bdf9-093e7141f3f2" providerId="ADAL" clId="{FFB4E4AB-78F6-44A7-A78E-61C4F8F50297}" dt="2020-01-17T13:41:21.540" v="3077" actId="113"/>
          <ac:spMkLst>
            <pc:docMk/>
            <pc:sldMk cId="2758471548" sldId="597"/>
            <ac:spMk id="2" creationId="{79B02337-971C-44A4-9759-6546F6D53F97}"/>
          </ac:spMkLst>
        </pc:spChg>
        <pc:spChg chg="mod">
          <ac:chgData name="Sandra Kamm" userId="35d912f9-2903-4993-bdf9-093e7141f3f2" providerId="ADAL" clId="{FFB4E4AB-78F6-44A7-A78E-61C4F8F50297}" dt="2020-01-17T13:42:34.008" v="3115" actId="1076"/>
          <ac:spMkLst>
            <pc:docMk/>
            <pc:sldMk cId="2758471548" sldId="597"/>
            <ac:spMk id="6" creationId="{F67CE500-EFEA-4EA7-A75D-EE1414F798E6}"/>
          </ac:spMkLst>
        </pc:spChg>
        <pc:picChg chg="add mod">
          <ac:chgData name="Sandra Kamm" userId="35d912f9-2903-4993-bdf9-093e7141f3f2" providerId="ADAL" clId="{FFB4E4AB-78F6-44A7-A78E-61C4F8F50297}" dt="2020-01-17T13:42:09.756" v="3080" actId="1076"/>
          <ac:picMkLst>
            <pc:docMk/>
            <pc:sldMk cId="2758471548" sldId="597"/>
            <ac:picMk id="3" creationId="{6087FCF2-69E5-4F2C-9F95-703705A95A3D}"/>
          </ac:picMkLst>
        </pc:picChg>
        <pc:picChg chg="del">
          <ac:chgData name="Sandra Kamm" userId="35d912f9-2903-4993-bdf9-093e7141f3f2" providerId="ADAL" clId="{FFB4E4AB-78F6-44A7-A78E-61C4F8F50297}" dt="2020-01-17T13:41:24.781" v="3078" actId="478"/>
          <ac:picMkLst>
            <pc:docMk/>
            <pc:sldMk cId="2758471548" sldId="597"/>
            <ac:picMk id="4" creationId="{1DDA7212-5900-48BC-8EF1-BCD124622B46}"/>
          </ac:picMkLst>
        </pc:picChg>
      </pc:sldChg>
      <pc:sldChg chg="del">
        <pc:chgData name="Sandra Kamm" userId="35d912f9-2903-4993-bdf9-093e7141f3f2" providerId="ADAL" clId="{FFB4E4AB-78F6-44A7-A78E-61C4F8F50297}" dt="2020-01-17T09:46:48.614" v="208" actId="47"/>
        <pc:sldMkLst>
          <pc:docMk/>
          <pc:sldMk cId="2605722291" sldId="598"/>
        </pc:sldMkLst>
      </pc:sldChg>
      <pc:sldChg chg="addSp delSp modSp add delAnim">
        <pc:chgData name="Sandra Kamm" userId="35d912f9-2903-4993-bdf9-093e7141f3f2" providerId="ADAL" clId="{FFB4E4AB-78F6-44A7-A78E-61C4F8F50297}" dt="2020-01-17T13:46:18.018" v="3397" actId="14100"/>
        <pc:sldMkLst>
          <pc:docMk/>
          <pc:sldMk cId="4240547354" sldId="598"/>
        </pc:sldMkLst>
        <pc:spChg chg="mod">
          <ac:chgData name="Sandra Kamm" userId="35d912f9-2903-4993-bdf9-093e7141f3f2" providerId="ADAL" clId="{FFB4E4AB-78F6-44A7-A78E-61C4F8F50297}" dt="2020-01-17T13:46:18.018" v="3397" actId="14100"/>
          <ac:spMkLst>
            <pc:docMk/>
            <pc:sldMk cId="4240547354" sldId="598"/>
            <ac:spMk id="2" creationId="{79B02337-971C-44A4-9759-6546F6D53F97}"/>
          </ac:spMkLst>
        </pc:spChg>
        <pc:spChg chg="del">
          <ac:chgData name="Sandra Kamm" userId="35d912f9-2903-4993-bdf9-093e7141f3f2" providerId="ADAL" clId="{FFB4E4AB-78F6-44A7-A78E-61C4F8F50297}" dt="2020-01-17T13:46:07.588" v="3396" actId="478"/>
          <ac:spMkLst>
            <pc:docMk/>
            <pc:sldMk cId="4240547354" sldId="598"/>
            <ac:spMk id="6" creationId="{F67CE500-EFEA-4EA7-A75D-EE1414F798E6}"/>
          </ac:spMkLst>
        </pc:spChg>
        <pc:picChg chg="del">
          <ac:chgData name="Sandra Kamm" userId="35d912f9-2903-4993-bdf9-093e7141f3f2" providerId="ADAL" clId="{FFB4E4AB-78F6-44A7-A78E-61C4F8F50297}" dt="2020-01-17T13:44:11.682" v="3122" actId="478"/>
          <ac:picMkLst>
            <pc:docMk/>
            <pc:sldMk cId="4240547354" sldId="598"/>
            <ac:picMk id="3" creationId="{6087FCF2-69E5-4F2C-9F95-703705A95A3D}"/>
          </ac:picMkLst>
        </pc:picChg>
        <pc:picChg chg="add del mod">
          <ac:chgData name="Sandra Kamm" userId="35d912f9-2903-4993-bdf9-093e7141f3f2" providerId="ADAL" clId="{FFB4E4AB-78F6-44A7-A78E-61C4F8F50297}" dt="2020-01-17T13:46:02.720" v="3395" actId="478"/>
          <ac:picMkLst>
            <pc:docMk/>
            <pc:sldMk cId="4240547354" sldId="598"/>
            <ac:picMk id="4" creationId="{36389321-7BD1-4AFA-8EF8-B40548D5B73D}"/>
          </ac:picMkLst>
        </pc:picChg>
      </pc:sldChg>
      <pc:sldChg chg="add modNotesTx">
        <pc:chgData name="Sandra Kamm" userId="35d912f9-2903-4993-bdf9-093e7141f3f2" providerId="ADAL" clId="{FFB4E4AB-78F6-44A7-A78E-61C4F8F50297}" dt="2020-01-17T14:15:30.444" v="4448" actId="20577"/>
        <pc:sldMkLst>
          <pc:docMk/>
          <pc:sldMk cId="1368678634" sldId="599"/>
        </pc:sldMkLst>
      </pc:sldChg>
      <pc:sldChg chg="del">
        <pc:chgData name="Sandra Kamm" userId="35d912f9-2903-4993-bdf9-093e7141f3f2" providerId="ADAL" clId="{FFB4E4AB-78F6-44A7-A78E-61C4F8F50297}" dt="2020-01-17T09:46:48.614" v="208" actId="47"/>
        <pc:sldMkLst>
          <pc:docMk/>
          <pc:sldMk cId="2759609265" sldId="599"/>
        </pc:sldMkLst>
      </pc:sldChg>
      <pc:sldChg chg="addSp delSp modSp add">
        <pc:chgData name="Sandra Kamm" userId="35d912f9-2903-4993-bdf9-093e7141f3f2" providerId="ADAL" clId="{FFB4E4AB-78F6-44A7-A78E-61C4F8F50297}" dt="2020-01-17T14:15:00.169" v="4445" actId="1076"/>
        <pc:sldMkLst>
          <pc:docMk/>
          <pc:sldMk cId="2664832222" sldId="600"/>
        </pc:sldMkLst>
        <pc:spChg chg="mod">
          <ac:chgData name="Sandra Kamm" userId="35d912f9-2903-4993-bdf9-093e7141f3f2" providerId="ADAL" clId="{FFB4E4AB-78F6-44A7-A78E-61C4F8F50297}" dt="2020-01-17T14:14:15.854" v="4433" actId="20577"/>
          <ac:spMkLst>
            <pc:docMk/>
            <pc:sldMk cId="2664832222" sldId="600"/>
            <ac:spMk id="2" creationId="{79B02337-971C-44A4-9759-6546F6D53F97}"/>
          </ac:spMkLst>
        </pc:spChg>
        <pc:spChg chg="mod">
          <ac:chgData name="Sandra Kamm" userId="35d912f9-2903-4993-bdf9-093e7141f3f2" providerId="ADAL" clId="{FFB4E4AB-78F6-44A7-A78E-61C4F8F50297}" dt="2020-01-17T14:08:08.569" v="4120" actId="20577"/>
          <ac:spMkLst>
            <pc:docMk/>
            <pc:sldMk cId="2664832222" sldId="600"/>
            <ac:spMk id="5" creationId="{53A5996F-A214-714F-BCA6-4DACEFD785BA}"/>
          </ac:spMkLst>
        </pc:spChg>
        <pc:spChg chg="del">
          <ac:chgData name="Sandra Kamm" userId="35d912f9-2903-4993-bdf9-093e7141f3f2" providerId="ADAL" clId="{FFB4E4AB-78F6-44A7-A78E-61C4F8F50297}" dt="2020-01-17T14:14:04.859" v="4428" actId="478"/>
          <ac:spMkLst>
            <pc:docMk/>
            <pc:sldMk cId="2664832222" sldId="600"/>
            <ac:spMk id="7" creationId="{DC629D2C-1C55-41FA-A95E-AE63902BE89F}"/>
          </ac:spMkLst>
        </pc:spChg>
        <pc:spChg chg="add mod">
          <ac:chgData name="Sandra Kamm" userId="35d912f9-2903-4993-bdf9-093e7141f3f2" providerId="ADAL" clId="{FFB4E4AB-78F6-44A7-A78E-61C4F8F50297}" dt="2020-01-17T14:14:48.686" v="4443" actId="1076"/>
          <ac:spMkLst>
            <pc:docMk/>
            <pc:sldMk cId="2664832222" sldId="600"/>
            <ac:spMk id="8" creationId="{DA2A062B-5AC5-44DB-B005-88BF85789725}"/>
          </ac:spMkLst>
        </pc:spChg>
        <pc:picChg chg="add mod">
          <ac:chgData name="Sandra Kamm" userId="35d912f9-2903-4993-bdf9-093e7141f3f2" providerId="ADAL" clId="{FFB4E4AB-78F6-44A7-A78E-61C4F8F50297}" dt="2020-01-17T14:14:18.911" v="4434" actId="1076"/>
          <ac:picMkLst>
            <pc:docMk/>
            <pc:sldMk cId="2664832222" sldId="600"/>
            <ac:picMk id="4" creationId="{0C8FACF4-4A83-477B-8913-FD129E17216F}"/>
          </ac:picMkLst>
        </pc:picChg>
        <pc:picChg chg="add mod">
          <ac:chgData name="Sandra Kamm" userId="35d912f9-2903-4993-bdf9-093e7141f3f2" providerId="ADAL" clId="{FFB4E4AB-78F6-44A7-A78E-61C4F8F50297}" dt="2020-01-17T14:15:00.169" v="4445" actId="1076"/>
          <ac:picMkLst>
            <pc:docMk/>
            <pc:sldMk cId="2664832222" sldId="600"/>
            <ac:picMk id="6" creationId="{F5E1C687-0898-448A-B8DD-79B301DD717B}"/>
          </ac:picMkLst>
        </pc:picChg>
      </pc:sldChg>
      <pc:sldChg chg="del">
        <pc:chgData name="Sandra Kamm" userId="35d912f9-2903-4993-bdf9-093e7141f3f2" providerId="ADAL" clId="{FFB4E4AB-78F6-44A7-A78E-61C4F8F50297}" dt="2020-01-17T09:46:48.614" v="208" actId="47"/>
        <pc:sldMkLst>
          <pc:docMk/>
          <pc:sldMk cId="2942862847" sldId="600"/>
        </pc:sldMkLst>
      </pc:sldChg>
    </pc:docChg>
  </pc:docChgLst>
  <pc:docChgLst>
    <pc:chgData name="Sandra Kamm" userId="35d912f9-2903-4993-bdf9-093e7141f3f2" providerId="ADAL" clId="{F950B231-0E43-424C-9CB1-D9735121E1A8}"/>
    <pc:docChg chg="custSel modSld modMainMaster">
      <pc:chgData name="Sandra Kamm" userId="35d912f9-2903-4993-bdf9-093e7141f3f2" providerId="ADAL" clId="{F950B231-0E43-424C-9CB1-D9735121E1A8}" dt="2020-01-30T08:00:26.418" v="99" actId="478"/>
      <pc:docMkLst>
        <pc:docMk/>
      </pc:docMkLst>
      <pc:sldChg chg="modAnim">
        <pc:chgData name="Sandra Kamm" userId="35d912f9-2903-4993-bdf9-093e7141f3f2" providerId="ADAL" clId="{F950B231-0E43-424C-9CB1-D9735121E1A8}" dt="2020-01-17T14:25:35.201" v="1"/>
        <pc:sldMkLst>
          <pc:docMk/>
          <pc:sldMk cId="3067161941" sldId="587"/>
        </pc:sldMkLst>
      </pc:sldChg>
      <pc:sldChg chg="modTransition">
        <pc:chgData name="Sandra Kamm" userId="35d912f9-2903-4993-bdf9-093e7141f3f2" providerId="ADAL" clId="{F950B231-0E43-424C-9CB1-D9735121E1A8}" dt="2020-01-17T14:30:21.131" v="91"/>
        <pc:sldMkLst>
          <pc:docMk/>
          <pc:sldMk cId="1423919647" sldId="590"/>
        </pc:sldMkLst>
      </pc:sldChg>
      <pc:sldChg chg="modTransition">
        <pc:chgData name="Sandra Kamm" userId="35d912f9-2903-4993-bdf9-093e7141f3f2" providerId="ADAL" clId="{F950B231-0E43-424C-9CB1-D9735121E1A8}" dt="2020-01-17T14:30:04.272" v="90"/>
        <pc:sldMkLst>
          <pc:docMk/>
          <pc:sldMk cId="923983945" sldId="592"/>
        </pc:sldMkLst>
      </pc:sldChg>
      <pc:sldChg chg="addSp delSp modSp delAnim modAnim">
        <pc:chgData name="Sandra Kamm" userId="35d912f9-2903-4993-bdf9-093e7141f3f2" providerId="ADAL" clId="{F950B231-0E43-424C-9CB1-D9735121E1A8}" dt="2020-01-17T14:29:29.509" v="89"/>
        <pc:sldMkLst>
          <pc:docMk/>
          <pc:sldMk cId="1368678634" sldId="599"/>
        </pc:sldMkLst>
        <pc:spChg chg="mod">
          <ac:chgData name="Sandra Kamm" userId="35d912f9-2903-4993-bdf9-093e7141f3f2" providerId="ADAL" clId="{F950B231-0E43-424C-9CB1-D9735121E1A8}" dt="2020-01-17T14:29:19.293" v="86" actId="1076"/>
          <ac:spMkLst>
            <pc:docMk/>
            <pc:sldMk cId="1368678634" sldId="599"/>
            <ac:spMk id="2" creationId="{79B02337-971C-44A4-9759-6546F6D53F97}"/>
          </ac:spMkLst>
        </pc:spChg>
        <pc:spChg chg="mod">
          <ac:chgData name="Sandra Kamm" userId="35d912f9-2903-4993-bdf9-093e7141f3f2" providerId="ADAL" clId="{F950B231-0E43-424C-9CB1-D9735121E1A8}" dt="2020-01-17T14:27:32.939" v="22" actId="20577"/>
          <ac:spMkLst>
            <pc:docMk/>
            <pc:sldMk cId="1368678634" sldId="599"/>
            <ac:spMk id="5" creationId="{53A5996F-A214-714F-BCA6-4DACEFD785BA}"/>
          </ac:spMkLst>
        </pc:spChg>
        <pc:spChg chg="add mod">
          <ac:chgData name="Sandra Kamm" userId="35d912f9-2903-4993-bdf9-093e7141f3f2" providerId="ADAL" clId="{F950B231-0E43-424C-9CB1-D9735121E1A8}" dt="2020-01-17T14:29:22.039" v="87" actId="5793"/>
          <ac:spMkLst>
            <pc:docMk/>
            <pc:sldMk cId="1368678634" sldId="599"/>
            <ac:spMk id="9" creationId="{EBA0841B-1831-4CEF-A017-50CF95A14DDB}"/>
          </ac:spMkLst>
        </pc:spChg>
        <pc:spChg chg="del">
          <ac:chgData name="Sandra Kamm" userId="35d912f9-2903-4993-bdf9-093e7141f3f2" providerId="ADAL" clId="{F950B231-0E43-424C-9CB1-D9735121E1A8}" dt="2020-01-17T14:28:04.713" v="32" actId="478"/>
          <ac:spMkLst>
            <pc:docMk/>
            <pc:sldMk cId="1368678634" sldId="599"/>
            <ac:spMk id="23" creationId="{D15EDDB1-DC0D-4908-AC4F-C8BDEF8BC5CA}"/>
          </ac:spMkLst>
        </pc:spChg>
        <pc:spChg chg="del">
          <ac:chgData name="Sandra Kamm" userId="35d912f9-2903-4993-bdf9-093e7141f3f2" providerId="ADAL" clId="{F950B231-0E43-424C-9CB1-D9735121E1A8}" dt="2020-01-17T14:27:58.239" v="30" actId="478"/>
          <ac:spMkLst>
            <pc:docMk/>
            <pc:sldMk cId="1368678634" sldId="599"/>
            <ac:spMk id="24" creationId="{FDBC66BC-D40C-4858-B247-F4D55104E0CF}"/>
          </ac:spMkLst>
        </pc:spChg>
        <pc:spChg chg="del">
          <ac:chgData name="Sandra Kamm" userId="35d912f9-2903-4993-bdf9-093e7141f3f2" providerId="ADAL" clId="{F950B231-0E43-424C-9CB1-D9735121E1A8}" dt="2020-01-17T14:28:01.905" v="31" actId="478"/>
          <ac:spMkLst>
            <pc:docMk/>
            <pc:sldMk cId="1368678634" sldId="599"/>
            <ac:spMk id="26" creationId="{A278092F-0F80-410D-91AC-D5CA611DC7E2}"/>
          </ac:spMkLst>
        </pc:spChg>
        <pc:picChg chg="del">
          <ac:chgData name="Sandra Kamm" userId="35d912f9-2903-4993-bdf9-093e7141f3f2" providerId="ADAL" clId="{F950B231-0E43-424C-9CB1-D9735121E1A8}" dt="2020-01-17T14:27:54.654" v="29" actId="478"/>
          <ac:picMkLst>
            <pc:docMk/>
            <pc:sldMk cId="1368678634" sldId="599"/>
            <ac:picMk id="22" creationId="{FE5B5E65-F134-41C0-9B74-26A411594626}"/>
          </ac:picMkLst>
        </pc:picChg>
      </pc:sldChg>
      <pc:sldMasterChg chg="delSp modSp">
        <pc:chgData name="Sandra Kamm" userId="35d912f9-2903-4993-bdf9-093e7141f3f2" providerId="ADAL" clId="{F950B231-0E43-424C-9CB1-D9735121E1A8}" dt="2020-01-30T08:00:26.418" v="99" actId="478"/>
        <pc:sldMasterMkLst>
          <pc:docMk/>
          <pc:sldMasterMk cId="4119550138" sldId="2147483660"/>
        </pc:sldMasterMkLst>
        <pc:spChg chg="del">
          <ac:chgData name="Sandra Kamm" userId="35d912f9-2903-4993-bdf9-093e7141f3f2" providerId="ADAL" clId="{F950B231-0E43-424C-9CB1-D9735121E1A8}" dt="2020-01-30T08:00:26.418" v="99" actId="478"/>
          <ac:spMkLst>
            <pc:docMk/>
            <pc:sldMasterMk cId="4119550138" sldId="2147483660"/>
            <ac:spMk id="23" creationId="{235194FC-A119-E14A-BEF4-4D6AC591E4F8}"/>
          </ac:spMkLst>
        </pc:spChg>
        <pc:spChg chg="del">
          <ac:chgData name="Sandra Kamm" userId="35d912f9-2903-4993-bdf9-093e7141f3f2" providerId="ADAL" clId="{F950B231-0E43-424C-9CB1-D9735121E1A8}" dt="2020-01-30T08:00:17.525" v="96" actId="478"/>
          <ac:spMkLst>
            <pc:docMk/>
            <pc:sldMasterMk cId="4119550138" sldId="2147483660"/>
            <ac:spMk id="27" creationId="{FEC39C7A-8424-2347-B9EA-2649CC8DBAD5}"/>
          </ac:spMkLst>
        </pc:spChg>
        <pc:picChg chg="del mod">
          <ac:chgData name="Sandra Kamm" userId="35d912f9-2903-4993-bdf9-093e7141f3f2" providerId="ADAL" clId="{F950B231-0E43-424C-9CB1-D9735121E1A8}" dt="2020-01-30T08:00:19.324" v="98" actId="478"/>
          <ac:picMkLst>
            <pc:docMk/>
            <pc:sldMasterMk cId="4119550138" sldId="2147483660"/>
            <ac:picMk id="24" creationId="{F52E4A61-83E2-8A42-844F-9F10210D5979}"/>
          </ac:picMkLst>
        </pc:picChg>
        <pc:picChg chg="del mod">
          <ac:chgData name="Sandra Kamm" userId="35d912f9-2903-4993-bdf9-093e7141f3f2" providerId="ADAL" clId="{F950B231-0E43-424C-9CB1-D9735121E1A8}" dt="2020-01-30T08:00:13.242" v="93" actId="478"/>
          <ac:picMkLst>
            <pc:docMk/>
            <pc:sldMasterMk cId="4119550138" sldId="2147483660"/>
            <ac:picMk id="25" creationId="{7F2F19D3-1F57-5D44-8B07-D37FB40042AD}"/>
          </ac:picMkLst>
        </pc:picChg>
        <pc:picChg chg="del mod">
          <ac:chgData name="Sandra Kamm" userId="35d912f9-2903-4993-bdf9-093e7141f3f2" providerId="ADAL" clId="{F950B231-0E43-424C-9CB1-D9735121E1A8}" dt="2020-01-30T08:00:15.486" v="95" actId="478"/>
          <ac:picMkLst>
            <pc:docMk/>
            <pc:sldMasterMk cId="4119550138" sldId="2147483660"/>
            <ac:picMk id="26" creationId="{90082EFA-F550-7040-B489-87164C13E9EB}"/>
          </ac:picMkLst>
        </pc:pic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0BCF20-5EEE-284F-AD34-8663795608B2}" type="datetimeFigureOut">
              <a:rPr lang="de-DE" smtClean="0"/>
              <a:t>17.02.20</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4C3B364-2F58-7D43-AE15-6A5DC8208B01}" type="slidenum">
              <a:rPr lang="de-DE" smtClean="0"/>
              <a:t>‹Nr.›</a:t>
            </a:fld>
            <a:endParaRPr lang="de-DE"/>
          </a:p>
        </p:txBody>
      </p:sp>
    </p:spTree>
    <p:extLst>
      <p:ext uri="{BB962C8B-B14F-4D97-AF65-F5344CB8AC3E}">
        <p14:creationId xmlns:p14="http://schemas.microsoft.com/office/powerpoint/2010/main" val="3459008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Kurzdrehbuch:</a:t>
            </a:r>
          </a:p>
          <a:p>
            <a:endParaRPr lang="de-DE" b="0" dirty="0"/>
          </a:p>
          <a:p>
            <a:endParaRPr lang="de-DE" dirty="0"/>
          </a:p>
          <a:p>
            <a:r>
              <a:rPr lang="de-DE" b="1" dirty="0"/>
              <a:t>Asynchron:</a:t>
            </a:r>
          </a:p>
          <a:p>
            <a:r>
              <a:rPr lang="de-DE" baseline="0" dirty="0"/>
              <a:t>ca. 120: Problemset #2</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711F-9CB3-404F-9441-CAFF5A7E7437}"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2222294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a:t>Kurzdrehbuch:</a:t>
            </a:r>
          </a:p>
          <a:p>
            <a:endParaRPr lang="de-DE" b="0" dirty="0"/>
          </a:p>
          <a:p>
            <a:endParaRPr lang="de-DE" dirty="0"/>
          </a:p>
          <a:p>
            <a:r>
              <a:rPr lang="de-DE" b="1" dirty="0"/>
              <a:t>Asynchron:</a:t>
            </a:r>
          </a:p>
          <a:p>
            <a:r>
              <a:rPr lang="de-DE" baseline="0" dirty="0"/>
              <a:t>ca. 120: Problemset #2</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711F-9CB3-404F-9441-CAFF5A7E7437}"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7093792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1</a:t>
            </a:fld>
            <a:endParaRPr lang="de-DE"/>
          </a:p>
        </p:txBody>
      </p:sp>
    </p:spTree>
    <p:extLst>
      <p:ext uri="{BB962C8B-B14F-4D97-AF65-F5344CB8AC3E}">
        <p14:creationId xmlns:p14="http://schemas.microsoft.com/office/powerpoint/2010/main" val="4095563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2</a:t>
            </a:fld>
            <a:endParaRPr lang="de-DE"/>
          </a:p>
        </p:txBody>
      </p:sp>
    </p:spTree>
    <p:extLst>
      <p:ext uri="{BB962C8B-B14F-4D97-AF65-F5344CB8AC3E}">
        <p14:creationId xmlns:p14="http://schemas.microsoft.com/office/powerpoint/2010/main" val="748809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3</a:t>
            </a:fld>
            <a:endParaRPr lang="de-DE"/>
          </a:p>
        </p:txBody>
      </p:sp>
    </p:spTree>
    <p:extLst>
      <p:ext uri="{BB962C8B-B14F-4D97-AF65-F5344CB8AC3E}">
        <p14:creationId xmlns:p14="http://schemas.microsoft.com/office/powerpoint/2010/main" val="3748255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4</a:t>
            </a:fld>
            <a:endParaRPr lang="de-DE"/>
          </a:p>
        </p:txBody>
      </p:sp>
    </p:spTree>
    <p:extLst>
      <p:ext uri="{BB962C8B-B14F-4D97-AF65-F5344CB8AC3E}">
        <p14:creationId xmlns:p14="http://schemas.microsoft.com/office/powerpoint/2010/main" val="27848284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G2: </a:t>
            </a:r>
            <a:br>
              <a:rPr lang="de-DE" dirty="0"/>
            </a:br>
            <a:r>
              <a:rPr lang="de-DE" dirty="0"/>
              <a:t>Zahl 6  als Binärzahl legen: 00110</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Zahl 13 als Binärzahl legen: 01101</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usw</a:t>
            </a:r>
          </a:p>
          <a:p>
            <a:endParaRPr lang="de-DE" dirty="0"/>
          </a:p>
          <a:p>
            <a:br>
              <a:rPr lang="de-DE" dirty="0"/>
            </a:br>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5</a:t>
            </a:fld>
            <a:endParaRPr lang="de-DE"/>
          </a:p>
        </p:txBody>
      </p:sp>
    </p:spTree>
    <p:extLst>
      <p:ext uri="{BB962C8B-B14F-4D97-AF65-F5344CB8AC3E}">
        <p14:creationId xmlns:p14="http://schemas.microsoft.com/office/powerpoint/2010/main" val="256220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5 </a:t>
            </a:r>
            <a:r>
              <a:rPr lang="de-DE" dirty="0" err="1"/>
              <a:t>SuS</a:t>
            </a:r>
            <a:r>
              <a:rPr lang="de-DE" dirty="0"/>
              <a:t> kommen nach vorne und nehmen die 5A3 Karten in die Hand und stellen sich so hin, dass die Klasse sie sieht.</a:t>
            </a:r>
          </a:p>
          <a:p>
            <a:r>
              <a:rPr lang="de-DE" dirty="0" err="1"/>
              <a:t>SuS</a:t>
            </a:r>
            <a:r>
              <a:rPr lang="de-DE" dirty="0"/>
              <a:t> zählen mit drehen und wenden der Papiere von Null aufwärts. </a:t>
            </a:r>
          </a:p>
          <a:p>
            <a:r>
              <a:rPr lang="de-DE" dirty="0"/>
              <a:t>Der Rest der Klasse sollte aufmerksam die Karten beobachten, und versuchen, ein Muster im Wechsel der Karten zu sehen. (Jede Karte wird doppelt so oft gewendet, wie ihr linker Nachbar). </a:t>
            </a:r>
          </a:p>
        </p:txBody>
      </p:sp>
      <p:sp>
        <p:nvSpPr>
          <p:cNvPr id="4" name="Foliennummernplatzhalter 3"/>
          <p:cNvSpPr>
            <a:spLocks noGrp="1"/>
          </p:cNvSpPr>
          <p:nvPr>
            <p:ph type="sldNum" sz="quarter" idx="5"/>
          </p:nvPr>
        </p:nvSpPr>
        <p:spPr/>
        <p:txBody>
          <a:bodyPr/>
          <a:lstStyle/>
          <a:p>
            <a:fld id="{14C3B364-2F58-7D43-AE15-6A5DC8208B01}" type="slidenum">
              <a:rPr lang="de-DE" smtClean="0"/>
              <a:t>16</a:t>
            </a:fld>
            <a:endParaRPr lang="de-DE"/>
          </a:p>
        </p:txBody>
      </p:sp>
    </p:spTree>
    <p:extLst>
      <p:ext uri="{BB962C8B-B14F-4D97-AF65-F5344CB8AC3E}">
        <p14:creationId xmlns:p14="http://schemas.microsoft.com/office/powerpoint/2010/main" val="35058747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7</a:t>
            </a:fld>
            <a:endParaRPr lang="de-DE"/>
          </a:p>
        </p:txBody>
      </p:sp>
    </p:spTree>
    <p:extLst>
      <p:ext uri="{BB962C8B-B14F-4D97-AF65-F5344CB8AC3E}">
        <p14:creationId xmlns:p14="http://schemas.microsoft.com/office/powerpoint/2010/main" val="3186175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8</a:t>
            </a:fld>
            <a:endParaRPr lang="de-DE"/>
          </a:p>
        </p:txBody>
      </p:sp>
    </p:spTree>
    <p:extLst>
      <p:ext uri="{BB962C8B-B14F-4D97-AF65-F5344CB8AC3E}">
        <p14:creationId xmlns:p14="http://schemas.microsoft.com/office/powerpoint/2010/main" val="16512792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19</a:t>
            </a:fld>
            <a:endParaRPr lang="de-DE"/>
          </a:p>
        </p:txBody>
      </p:sp>
    </p:spTree>
    <p:extLst>
      <p:ext uri="{BB962C8B-B14F-4D97-AF65-F5344CB8AC3E}">
        <p14:creationId xmlns:p14="http://schemas.microsoft.com/office/powerpoint/2010/main" val="3717231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Denke an eine Glühbirne. Um sie an zu schalten brauchst du einen Schalter, der Elektrizität durch den Draht </a:t>
            </a:r>
            <a:r>
              <a:rPr lang="de-DE" sz="1200" kern="1200" dirty="0" err="1">
                <a:solidFill>
                  <a:schemeClr val="tx1"/>
                </a:solidFill>
                <a:effectLst/>
                <a:latin typeface="+mn-lt"/>
                <a:ea typeface="+mn-ea"/>
                <a:cs typeface="+mn-cs"/>
              </a:rPr>
              <a:t>fliessen</a:t>
            </a:r>
            <a:r>
              <a:rPr lang="de-DE" sz="1200" kern="1200" dirty="0">
                <a:solidFill>
                  <a:schemeClr val="tx1"/>
                </a:solidFill>
                <a:effectLst/>
                <a:latin typeface="+mn-lt"/>
                <a:ea typeface="+mn-ea"/>
                <a:cs typeface="+mn-cs"/>
              </a:rPr>
              <a:t> lässt, oder nicht. Wenn die Elektrizität </a:t>
            </a:r>
            <a:r>
              <a:rPr lang="de-DE" sz="1200" kern="1200" dirty="0" err="1">
                <a:solidFill>
                  <a:schemeClr val="tx1"/>
                </a:solidFill>
                <a:effectLst/>
                <a:latin typeface="+mn-lt"/>
                <a:ea typeface="+mn-ea"/>
                <a:cs typeface="+mn-cs"/>
              </a:rPr>
              <a:t>fliessen</a:t>
            </a:r>
            <a:r>
              <a:rPr lang="de-DE" sz="1200" kern="1200" dirty="0">
                <a:solidFill>
                  <a:schemeClr val="tx1"/>
                </a:solidFill>
                <a:effectLst/>
                <a:latin typeface="+mn-lt"/>
                <a:ea typeface="+mn-ea"/>
                <a:cs typeface="+mn-cs"/>
              </a:rPr>
              <a:t> kann, leuchtet die Lampe. Wenn keine </a:t>
            </a:r>
            <a:r>
              <a:rPr lang="de-DE" sz="1200" kern="1200" dirty="0" err="1">
                <a:solidFill>
                  <a:schemeClr val="tx1"/>
                </a:solidFill>
                <a:effectLst/>
                <a:latin typeface="+mn-lt"/>
                <a:ea typeface="+mn-ea"/>
                <a:cs typeface="+mn-cs"/>
              </a:rPr>
              <a:t>fliesst</a:t>
            </a:r>
            <a:r>
              <a:rPr lang="de-DE" sz="1200" kern="1200" dirty="0">
                <a:solidFill>
                  <a:schemeClr val="tx1"/>
                </a:solidFill>
                <a:effectLst/>
                <a:latin typeface="+mn-lt"/>
                <a:ea typeface="+mn-ea"/>
                <a:cs typeface="+mn-cs"/>
              </a:rPr>
              <a:t>, leuchtet sie nicht.</a:t>
            </a:r>
          </a:p>
          <a:p>
            <a:r>
              <a:rPr lang="de-DE" sz="1200" kern="1200" dirty="0">
                <a:solidFill>
                  <a:schemeClr val="tx1"/>
                </a:solidFill>
                <a:effectLst/>
                <a:latin typeface="+mn-lt"/>
                <a:ea typeface="+mn-ea"/>
                <a:cs typeface="+mn-cs"/>
              </a:rPr>
              <a:t>Die Lampe hat somit zwei Zustände „an“ und „aus“, oder auf Englisch „off“ und „on“.</a:t>
            </a:r>
          </a:p>
          <a:p>
            <a:r>
              <a:rPr lang="de-DE" sz="1200" kern="1200" dirty="0">
                <a:solidFill>
                  <a:schemeClr val="tx1"/>
                </a:solidFill>
                <a:effectLst/>
                <a:latin typeface="+mn-lt"/>
                <a:ea typeface="+mn-ea"/>
                <a:cs typeface="+mn-cs"/>
              </a:rPr>
              <a:t>So können auch die kleinen Drähte im inneren des Computers an oder aus sein.</a:t>
            </a:r>
          </a:p>
          <a:p>
            <a:r>
              <a:rPr lang="de-DE" sz="1200" kern="1200" dirty="0">
                <a:solidFill>
                  <a:schemeClr val="tx1"/>
                </a:solidFill>
                <a:effectLst/>
                <a:latin typeface="+mn-lt"/>
                <a:ea typeface="+mn-ea"/>
                <a:cs typeface="+mn-cs"/>
              </a:rPr>
              <a:t>Wenn etwas nur zwei Zustände haben kann, nennt man dies binär. Binär kommt vom lateinischen Wort „</a:t>
            </a:r>
            <a:r>
              <a:rPr lang="de-DE" sz="1200" kern="1200" dirty="0" err="1">
                <a:solidFill>
                  <a:schemeClr val="tx1"/>
                </a:solidFill>
                <a:effectLst/>
                <a:latin typeface="+mn-lt"/>
                <a:ea typeface="+mn-ea"/>
                <a:cs typeface="+mn-cs"/>
              </a:rPr>
              <a:t>bina</a:t>
            </a:r>
            <a:r>
              <a:rPr lang="de-DE" sz="1200" kern="1200" dirty="0">
                <a:solidFill>
                  <a:schemeClr val="tx1"/>
                </a:solidFill>
                <a:effectLst/>
                <a:latin typeface="+mn-lt"/>
                <a:ea typeface="+mn-ea"/>
                <a:cs typeface="+mn-cs"/>
              </a:rPr>
              <a:t>“, was so viel wie „paarweise“ bedeutet.</a:t>
            </a:r>
          </a:p>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2</a:t>
            </a:fld>
            <a:endParaRPr lang="de-DE"/>
          </a:p>
        </p:txBody>
      </p:sp>
    </p:spTree>
    <p:extLst>
      <p:ext uri="{BB962C8B-B14F-4D97-AF65-F5344CB8AC3E}">
        <p14:creationId xmlns:p14="http://schemas.microsoft.com/office/powerpoint/2010/main" val="4014965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Computer Programmierer nennen einen Binärwert „ein Bit“. Anstatt die Begriffe „an“ und „aus“ zu gebrauchen verwendet sie die Ziffern „0“ und „1“. „0“ bedeutet soviel wie „aus“ und „an“ ist „1“ .</a:t>
            </a:r>
          </a:p>
          <a:p>
            <a:r>
              <a:rPr lang="de-DE" sz="1200" kern="1200" dirty="0">
                <a:solidFill>
                  <a:schemeClr val="tx1"/>
                </a:solidFill>
                <a:effectLst/>
                <a:latin typeface="+mn-lt"/>
                <a:ea typeface="+mn-ea"/>
                <a:cs typeface="+mn-cs"/>
              </a:rPr>
              <a:t>Mit einem Bit können wir eine von zwei Zahlen darstellen 0 oder 1.</a:t>
            </a:r>
          </a:p>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3</a:t>
            </a:fld>
            <a:endParaRPr lang="de-DE"/>
          </a:p>
        </p:txBody>
      </p:sp>
    </p:spTree>
    <p:extLst>
      <p:ext uri="{BB962C8B-B14F-4D97-AF65-F5344CB8AC3E}">
        <p14:creationId xmlns:p14="http://schemas.microsoft.com/office/powerpoint/2010/main" val="31309297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Wenn wir 2 Bits nehmen sind 4 Kombinationen möglich: 00, 01, 10, 11</a:t>
            </a:r>
          </a:p>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4</a:t>
            </a:fld>
            <a:endParaRPr lang="de-DE"/>
          </a:p>
        </p:txBody>
      </p:sp>
    </p:spTree>
    <p:extLst>
      <p:ext uri="{BB962C8B-B14F-4D97-AF65-F5344CB8AC3E}">
        <p14:creationId xmlns:p14="http://schemas.microsoft.com/office/powerpoint/2010/main" val="70519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8 </a:t>
            </a:r>
            <a:r>
              <a:rPr lang="de-DE" dirty="0" err="1"/>
              <a:t>Bites</a:t>
            </a:r>
            <a:r>
              <a:rPr lang="de-DE" dirty="0"/>
              <a:t> = 1 Byte</a:t>
            </a:r>
          </a:p>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5</a:t>
            </a:fld>
            <a:endParaRPr lang="de-DE"/>
          </a:p>
        </p:txBody>
      </p:sp>
    </p:spTree>
    <p:extLst>
      <p:ext uri="{BB962C8B-B14F-4D97-AF65-F5344CB8AC3E}">
        <p14:creationId xmlns:p14="http://schemas.microsoft.com/office/powerpoint/2010/main" val="3346085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Alle Informationen, vom Text, übers Bild bis zur Musik, im Computer sind in Bits codiert. Je komplexer eine </a:t>
            </a:r>
            <a:r>
              <a:rPr lang="de-DE" sz="1200" kern="1200" dirty="0" err="1">
                <a:solidFill>
                  <a:schemeClr val="tx1"/>
                </a:solidFill>
                <a:effectLst/>
                <a:latin typeface="+mn-lt"/>
                <a:ea typeface="+mn-ea"/>
                <a:cs typeface="+mn-cs"/>
              </a:rPr>
              <a:t>Informatione</a:t>
            </a:r>
            <a:r>
              <a:rPr lang="de-DE" sz="1200" kern="1200" dirty="0">
                <a:solidFill>
                  <a:schemeClr val="tx1"/>
                </a:solidFill>
                <a:effectLst/>
                <a:latin typeface="+mn-lt"/>
                <a:ea typeface="+mn-ea"/>
                <a:cs typeface="+mn-cs"/>
              </a:rPr>
              <a:t> ist, um so mehr Bits braucht es um diese darzustellen. </a:t>
            </a:r>
          </a:p>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6</a:t>
            </a:fld>
            <a:endParaRPr lang="de-DE"/>
          </a:p>
        </p:txBody>
      </p:sp>
    </p:spTree>
    <p:extLst>
      <p:ext uri="{BB962C8B-B14F-4D97-AF65-F5344CB8AC3E}">
        <p14:creationId xmlns:p14="http://schemas.microsoft.com/office/powerpoint/2010/main" val="1587878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Diese </a:t>
            </a:r>
            <a:r>
              <a:rPr lang="de-DE" sz="1200" kern="1200" dirty="0" err="1">
                <a:solidFill>
                  <a:schemeClr val="tx1"/>
                </a:solidFill>
                <a:effectLst/>
                <a:latin typeface="+mn-lt"/>
                <a:ea typeface="+mn-ea"/>
                <a:cs typeface="+mn-cs"/>
              </a:rPr>
              <a:t>grosse</a:t>
            </a:r>
            <a:r>
              <a:rPr lang="de-DE" sz="1200" kern="1200" dirty="0">
                <a:solidFill>
                  <a:schemeClr val="tx1"/>
                </a:solidFill>
                <a:effectLst/>
                <a:latin typeface="+mn-lt"/>
                <a:ea typeface="+mn-ea"/>
                <a:cs typeface="+mn-cs"/>
              </a:rPr>
              <a:t> Menge an Bits werden in </a:t>
            </a:r>
            <a:r>
              <a:rPr lang="de-DE" sz="1200" kern="1200" dirty="0" err="1">
                <a:solidFill>
                  <a:schemeClr val="tx1"/>
                </a:solidFill>
                <a:effectLst/>
                <a:latin typeface="+mn-lt"/>
                <a:ea typeface="+mn-ea"/>
                <a:cs typeface="+mn-cs"/>
              </a:rPr>
              <a:t>grössere</a:t>
            </a:r>
            <a:r>
              <a:rPr lang="de-DE" sz="1200" kern="1200" dirty="0">
                <a:solidFill>
                  <a:schemeClr val="tx1"/>
                </a:solidFill>
                <a:effectLst/>
                <a:latin typeface="+mn-lt"/>
                <a:ea typeface="+mn-ea"/>
                <a:cs typeface="+mn-cs"/>
              </a:rPr>
              <a:t> Gruppen zusammen getan, zum Beispiel ins Byte, Megabyte (MB), Gigabyte (GB) oder Terabytes (TB). Diese Begriffe beschreiben wie viele Informationen/Daten der Computer speichern oder brauchen kann. </a:t>
            </a:r>
          </a:p>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7</a:t>
            </a:fld>
            <a:endParaRPr lang="de-DE"/>
          </a:p>
        </p:txBody>
      </p:sp>
    </p:spTree>
    <p:extLst>
      <p:ext uri="{BB962C8B-B14F-4D97-AF65-F5344CB8AC3E}">
        <p14:creationId xmlns:p14="http://schemas.microsoft.com/office/powerpoint/2010/main" val="26712632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Diese </a:t>
            </a:r>
            <a:r>
              <a:rPr lang="de-DE" sz="1200" kern="1200" dirty="0" err="1">
                <a:solidFill>
                  <a:schemeClr val="tx1"/>
                </a:solidFill>
                <a:effectLst/>
                <a:latin typeface="+mn-lt"/>
                <a:ea typeface="+mn-ea"/>
                <a:cs typeface="+mn-cs"/>
              </a:rPr>
              <a:t>grosse</a:t>
            </a:r>
            <a:r>
              <a:rPr lang="de-DE" sz="1200" kern="1200" dirty="0">
                <a:solidFill>
                  <a:schemeClr val="tx1"/>
                </a:solidFill>
                <a:effectLst/>
                <a:latin typeface="+mn-lt"/>
                <a:ea typeface="+mn-ea"/>
                <a:cs typeface="+mn-cs"/>
              </a:rPr>
              <a:t> Menge an Bits werden in </a:t>
            </a:r>
            <a:r>
              <a:rPr lang="de-DE" sz="1200" kern="1200" dirty="0" err="1">
                <a:solidFill>
                  <a:schemeClr val="tx1"/>
                </a:solidFill>
                <a:effectLst/>
                <a:latin typeface="+mn-lt"/>
                <a:ea typeface="+mn-ea"/>
                <a:cs typeface="+mn-cs"/>
              </a:rPr>
              <a:t>grössere</a:t>
            </a:r>
            <a:r>
              <a:rPr lang="de-DE" sz="1200" kern="1200" dirty="0">
                <a:solidFill>
                  <a:schemeClr val="tx1"/>
                </a:solidFill>
                <a:effectLst/>
                <a:latin typeface="+mn-lt"/>
                <a:ea typeface="+mn-ea"/>
                <a:cs typeface="+mn-cs"/>
              </a:rPr>
              <a:t> Gruppen zusammen getan, zum Beispiel ins Byte, Megabyte (MB), Gigabyte (GB) oder Terabytes (TB). Diese Begriffe beschreiben wie viele Informationen/Daten der Computer speichern oder brauchen kann. </a:t>
            </a:r>
          </a:p>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8</a:t>
            </a:fld>
            <a:endParaRPr lang="de-DE"/>
          </a:p>
        </p:txBody>
      </p:sp>
    </p:spTree>
    <p:extLst>
      <p:ext uri="{BB962C8B-B14F-4D97-AF65-F5344CB8AC3E}">
        <p14:creationId xmlns:p14="http://schemas.microsoft.com/office/powerpoint/2010/main" val="2058792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14C3B364-2F58-7D43-AE15-6A5DC8208B01}" type="slidenum">
              <a:rPr lang="de-DE" smtClean="0"/>
              <a:t>9</a:t>
            </a:fld>
            <a:endParaRPr lang="de-DE"/>
          </a:p>
        </p:txBody>
      </p:sp>
    </p:spTree>
    <p:extLst>
      <p:ext uri="{BB962C8B-B14F-4D97-AF65-F5344CB8AC3E}">
        <p14:creationId xmlns:p14="http://schemas.microsoft.com/office/powerpoint/2010/main" val="1823222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slide" Target="../slides/slide2.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11.bin"/><Relationship Id="rId9" Type="http://schemas.openxmlformats.org/officeDocument/2006/relationships/image" Target="../media/image5.sv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slide" Target="../slides/slide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3.bin"/><Relationship Id="rId9"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slide" Target="../slides/slide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4.bin"/><Relationship Id="rId9"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svg"/><Relationship Id="rId12" Type="http://schemas.openxmlformats.org/officeDocument/2006/relationships/slide" Target="../slides/slide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0" Type="http://schemas.openxmlformats.org/officeDocument/2006/relationships/image" Target="../media/image6.png"/><Relationship Id="rId4" Type="http://schemas.openxmlformats.org/officeDocument/2006/relationships/oleObject" Target="../embeddings/oleObject9.bin"/><Relationship Id="rId9" Type="http://schemas.openxmlformats.org/officeDocument/2006/relationships/image" Target="../media/image5.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 name="think-cell Folie" r:id="rId4" imgW="344" imgH="344" progId="TCLayout.ActiveDocument.1">
                  <p:embed/>
                </p:oleObj>
              </mc:Choice>
              <mc:Fallback>
                <p:oleObj name="think-cell Folie" r:id="rId4" imgW="344" imgH="344"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6" name="Bildplatzhalter 25"/>
          <p:cNvSpPr>
            <a:spLocks noGrp="1"/>
          </p:cNvSpPr>
          <p:nvPr>
            <p:ph type="pic" sz="quarter" idx="10"/>
          </p:nvPr>
        </p:nvSpPr>
        <p:spPr>
          <a:xfrm>
            <a:off x="1" y="2"/>
            <a:ext cx="12188824" cy="6857999"/>
          </a:xfrm>
          <a:custGeom>
            <a:avLst/>
            <a:gdLst/>
            <a:ahLst/>
            <a:cxnLst/>
            <a:rect l="l" t="t" r="r" b="b"/>
            <a:pathLst>
              <a:path w="12188824" h="6857999">
                <a:moveTo>
                  <a:pt x="9916587" y="6093774"/>
                </a:moveTo>
                <a:lnTo>
                  <a:pt x="9916587" y="6104576"/>
                </a:lnTo>
                <a:lnTo>
                  <a:pt x="9927083" y="6104576"/>
                </a:lnTo>
                <a:lnTo>
                  <a:pt x="9927083" y="6093774"/>
                </a:lnTo>
                <a:close/>
                <a:moveTo>
                  <a:pt x="10119355" y="6063887"/>
                </a:moveTo>
                <a:lnTo>
                  <a:pt x="10119355" y="6087825"/>
                </a:lnTo>
                <a:cubicBezTo>
                  <a:pt x="10118899" y="6088294"/>
                  <a:pt x="10117252" y="6089388"/>
                  <a:pt x="10114414" y="6091106"/>
                </a:cubicBezTo>
                <a:cubicBezTo>
                  <a:pt x="10111575" y="6092824"/>
                  <a:pt x="10108144" y="6094482"/>
                  <a:pt x="10104119" y="6096081"/>
                </a:cubicBezTo>
                <a:cubicBezTo>
                  <a:pt x="10100095" y="6097681"/>
                  <a:pt x="10096076" y="6098537"/>
                  <a:pt x="10092063" y="6098651"/>
                </a:cubicBezTo>
                <a:cubicBezTo>
                  <a:pt x="10086835" y="6098740"/>
                  <a:pt x="10082769" y="6097495"/>
                  <a:pt x="10079866" y="6094915"/>
                </a:cubicBezTo>
                <a:cubicBezTo>
                  <a:pt x="10076963" y="6092336"/>
                  <a:pt x="10075489" y="6087888"/>
                  <a:pt x="10075445" y="6081573"/>
                </a:cubicBezTo>
                <a:cubicBezTo>
                  <a:pt x="10075445" y="6076909"/>
                  <a:pt x="10077274" y="6073046"/>
                  <a:pt x="10080933" y="6069984"/>
                </a:cubicBezTo>
                <a:cubicBezTo>
                  <a:pt x="10084593" y="6066921"/>
                  <a:pt x="10090081" y="6065193"/>
                  <a:pt x="10097400" y="6064799"/>
                </a:cubicBezTo>
                <a:close/>
                <a:moveTo>
                  <a:pt x="10265422" y="6025785"/>
                </a:moveTo>
                <a:cubicBezTo>
                  <a:pt x="10272635" y="6025902"/>
                  <a:pt x="10277952" y="6028717"/>
                  <a:pt x="10281373" y="6034229"/>
                </a:cubicBezTo>
                <a:cubicBezTo>
                  <a:pt x="10284794" y="6039741"/>
                  <a:pt x="10286490" y="6047245"/>
                  <a:pt x="10286461" y="6056741"/>
                </a:cubicBezTo>
                <a:lnTo>
                  <a:pt x="10240265" y="6056741"/>
                </a:lnTo>
                <a:cubicBezTo>
                  <a:pt x="10241199" y="6046378"/>
                  <a:pt x="10243905" y="6038626"/>
                  <a:pt x="10248384" y="6033486"/>
                </a:cubicBezTo>
                <a:cubicBezTo>
                  <a:pt x="10252863" y="6028346"/>
                  <a:pt x="10258542" y="6025779"/>
                  <a:pt x="10265422" y="6025785"/>
                </a:cubicBezTo>
                <a:close/>
                <a:moveTo>
                  <a:pt x="10099687" y="6019403"/>
                </a:moveTo>
                <a:cubicBezTo>
                  <a:pt x="10093512" y="6019511"/>
                  <a:pt x="10088137" y="6020094"/>
                  <a:pt x="10083564" y="6021151"/>
                </a:cubicBezTo>
                <a:cubicBezTo>
                  <a:pt x="10078990" y="6022209"/>
                  <a:pt x="10076131" y="6023096"/>
                  <a:pt x="10074989" y="6023812"/>
                </a:cubicBezTo>
                <a:lnTo>
                  <a:pt x="10076817" y="6030816"/>
                </a:lnTo>
                <a:cubicBezTo>
                  <a:pt x="10078240" y="6030324"/>
                  <a:pt x="10080883" y="6029593"/>
                  <a:pt x="10084745" y="6028624"/>
                </a:cubicBezTo>
                <a:cubicBezTo>
                  <a:pt x="10088607" y="6027655"/>
                  <a:pt x="10092470" y="6027115"/>
                  <a:pt x="10096332" y="6027004"/>
                </a:cubicBezTo>
                <a:cubicBezTo>
                  <a:pt x="10104229" y="6026820"/>
                  <a:pt x="10110048" y="6027913"/>
                  <a:pt x="10113790" y="6030283"/>
                </a:cubicBezTo>
                <a:cubicBezTo>
                  <a:pt x="10117532" y="6032653"/>
                  <a:pt x="10119387" y="6037406"/>
                  <a:pt x="10119355" y="6044541"/>
                </a:cubicBezTo>
                <a:lnTo>
                  <a:pt x="10119355" y="6057198"/>
                </a:lnTo>
                <a:lnTo>
                  <a:pt x="10098162" y="6057655"/>
                </a:lnTo>
                <a:cubicBezTo>
                  <a:pt x="10093748" y="6057732"/>
                  <a:pt x="10089178" y="6058457"/>
                  <a:pt x="10084452" y="6059830"/>
                </a:cubicBezTo>
                <a:cubicBezTo>
                  <a:pt x="10079725" y="6061204"/>
                  <a:pt x="10075710" y="6063678"/>
                  <a:pt x="10072406" y="6067254"/>
                </a:cubicBezTo>
                <a:cubicBezTo>
                  <a:pt x="10069103" y="6070829"/>
                  <a:pt x="10067379" y="6075958"/>
                  <a:pt x="10067234" y="6082640"/>
                </a:cubicBezTo>
                <a:cubicBezTo>
                  <a:pt x="10067284" y="6090209"/>
                  <a:pt x="10069237" y="6095956"/>
                  <a:pt x="10073093" y="6099879"/>
                </a:cubicBezTo>
                <a:cubicBezTo>
                  <a:pt x="10076949" y="6103802"/>
                  <a:pt x="10082408" y="6105774"/>
                  <a:pt x="10089471" y="6105795"/>
                </a:cubicBezTo>
                <a:cubicBezTo>
                  <a:pt x="10095592" y="6105695"/>
                  <a:pt x="10100698" y="6104880"/>
                  <a:pt x="10104791" y="6103350"/>
                </a:cubicBezTo>
                <a:cubicBezTo>
                  <a:pt x="10108884" y="6101819"/>
                  <a:pt x="10112139" y="6100170"/>
                  <a:pt x="10114555" y="6098402"/>
                </a:cubicBezTo>
                <a:cubicBezTo>
                  <a:pt x="10116970" y="6096635"/>
                  <a:pt x="10118722" y="6095345"/>
                  <a:pt x="10119811" y="6094534"/>
                </a:cubicBezTo>
                <a:cubicBezTo>
                  <a:pt x="10120333" y="6098384"/>
                  <a:pt x="10121949" y="6101179"/>
                  <a:pt x="10124659" y="6102920"/>
                </a:cubicBezTo>
                <a:cubicBezTo>
                  <a:pt x="10127369" y="6104662"/>
                  <a:pt x="10130319" y="6105518"/>
                  <a:pt x="10133509" y="6105490"/>
                </a:cubicBezTo>
                <a:lnTo>
                  <a:pt x="10134728" y="6105490"/>
                </a:lnTo>
                <a:lnTo>
                  <a:pt x="10135490" y="6098651"/>
                </a:lnTo>
                <a:cubicBezTo>
                  <a:pt x="10133693" y="6098518"/>
                  <a:pt x="10131953" y="6097832"/>
                  <a:pt x="10130271" y="6096593"/>
                </a:cubicBezTo>
                <a:cubicBezTo>
                  <a:pt x="10128588" y="6095354"/>
                  <a:pt x="10127686" y="6092990"/>
                  <a:pt x="10127565" y="6089502"/>
                </a:cubicBezTo>
                <a:lnTo>
                  <a:pt x="10127565" y="6040729"/>
                </a:lnTo>
                <a:cubicBezTo>
                  <a:pt x="10127433" y="6032971"/>
                  <a:pt x="10124845" y="6027454"/>
                  <a:pt x="10119801" y="6024178"/>
                </a:cubicBezTo>
                <a:cubicBezTo>
                  <a:pt x="10114757" y="6020902"/>
                  <a:pt x="10108052" y="6019310"/>
                  <a:pt x="10099687" y="6019403"/>
                </a:cubicBezTo>
                <a:close/>
                <a:moveTo>
                  <a:pt x="10351834" y="6019251"/>
                </a:moveTo>
                <a:cubicBezTo>
                  <a:pt x="10345599" y="6019393"/>
                  <a:pt x="10340155" y="6020667"/>
                  <a:pt x="10335502" y="6023072"/>
                </a:cubicBezTo>
                <a:cubicBezTo>
                  <a:pt x="10330848" y="6025476"/>
                  <a:pt x="10326433" y="6028159"/>
                  <a:pt x="10322257" y="6031119"/>
                </a:cubicBezTo>
                <a:lnTo>
                  <a:pt x="10322257" y="6021537"/>
                </a:lnTo>
                <a:lnTo>
                  <a:pt x="10313894" y="6021537"/>
                </a:lnTo>
                <a:lnTo>
                  <a:pt x="10313894" y="6104576"/>
                </a:lnTo>
                <a:lnTo>
                  <a:pt x="10322257" y="6104576"/>
                </a:lnTo>
                <a:lnTo>
                  <a:pt x="10322257" y="6038739"/>
                </a:lnTo>
                <a:cubicBezTo>
                  <a:pt x="10325982" y="6036310"/>
                  <a:pt x="10330270" y="6033776"/>
                  <a:pt x="10335121" y="6031138"/>
                </a:cubicBezTo>
                <a:cubicBezTo>
                  <a:pt x="10339971" y="6028500"/>
                  <a:pt x="10344983" y="6027071"/>
                  <a:pt x="10350157" y="6026852"/>
                </a:cubicBezTo>
                <a:cubicBezTo>
                  <a:pt x="10355766" y="6026891"/>
                  <a:pt x="10359930" y="6028014"/>
                  <a:pt x="10362648" y="6030221"/>
                </a:cubicBezTo>
                <a:cubicBezTo>
                  <a:pt x="10365366" y="6032428"/>
                  <a:pt x="10367135" y="6035482"/>
                  <a:pt x="10367956" y="6039382"/>
                </a:cubicBezTo>
                <a:cubicBezTo>
                  <a:pt x="10368776" y="6043283"/>
                  <a:pt x="10369145" y="6047793"/>
                  <a:pt x="10369062" y="6052912"/>
                </a:cubicBezTo>
                <a:lnTo>
                  <a:pt x="10369062" y="6104576"/>
                </a:lnTo>
                <a:lnTo>
                  <a:pt x="10377120" y="6104576"/>
                </a:lnTo>
                <a:lnTo>
                  <a:pt x="10377120" y="6050474"/>
                </a:lnTo>
                <a:cubicBezTo>
                  <a:pt x="10377254" y="6046010"/>
                  <a:pt x="10376852" y="6041393"/>
                  <a:pt x="10375914" y="6036622"/>
                </a:cubicBezTo>
                <a:cubicBezTo>
                  <a:pt x="10374975" y="6031850"/>
                  <a:pt x="10372700" y="6027799"/>
                  <a:pt x="10369088" y="6024467"/>
                </a:cubicBezTo>
                <a:cubicBezTo>
                  <a:pt x="10365475" y="6021135"/>
                  <a:pt x="10359724" y="6019396"/>
                  <a:pt x="10351834" y="6019251"/>
                </a:cubicBezTo>
                <a:close/>
                <a:moveTo>
                  <a:pt x="10267251" y="6019251"/>
                </a:moveTo>
                <a:cubicBezTo>
                  <a:pt x="10257094" y="6019041"/>
                  <a:pt x="10248675" y="6022391"/>
                  <a:pt x="10241992" y="6029301"/>
                </a:cubicBezTo>
                <a:cubicBezTo>
                  <a:pt x="10235309" y="6036211"/>
                  <a:pt x="10231844" y="6047942"/>
                  <a:pt x="10231598" y="6064495"/>
                </a:cubicBezTo>
                <a:cubicBezTo>
                  <a:pt x="10231714" y="6080050"/>
                  <a:pt x="10235096" y="6090981"/>
                  <a:pt x="10241744" y="6097286"/>
                </a:cubicBezTo>
                <a:cubicBezTo>
                  <a:pt x="10248392" y="6103592"/>
                  <a:pt x="10257606" y="6106631"/>
                  <a:pt x="10269386" y="6106405"/>
                </a:cubicBezTo>
                <a:cubicBezTo>
                  <a:pt x="10276745" y="6106268"/>
                  <a:pt x="10282567" y="6105667"/>
                  <a:pt x="10286853" y="6104599"/>
                </a:cubicBezTo>
                <a:cubicBezTo>
                  <a:pt x="10291139" y="6103532"/>
                  <a:pt x="10293645" y="6102816"/>
                  <a:pt x="10294370" y="6102452"/>
                </a:cubicBezTo>
                <a:lnTo>
                  <a:pt x="10292697" y="6095144"/>
                </a:lnTo>
                <a:cubicBezTo>
                  <a:pt x="10291756" y="6095475"/>
                  <a:pt x="10290138" y="6095914"/>
                  <a:pt x="10287842" y="6096460"/>
                </a:cubicBezTo>
                <a:cubicBezTo>
                  <a:pt x="10285546" y="6097006"/>
                  <a:pt x="10283047" y="6097501"/>
                  <a:pt x="10280343" y="6097945"/>
                </a:cubicBezTo>
                <a:cubicBezTo>
                  <a:pt x="10277640" y="6098389"/>
                  <a:pt x="10275207" y="6098625"/>
                  <a:pt x="10273045" y="6098651"/>
                </a:cubicBezTo>
                <a:cubicBezTo>
                  <a:pt x="10266799" y="6098776"/>
                  <a:pt x="10261267" y="6097984"/>
                  <a:pt x="10256449" y="6096274"/>
                </a:cubicBezTo>
                <a:cubicBezTo>
                  <a:pt x="10251631" y="6094563"/>
                  <a:pt x="10247805" y="6091184"/>
                  <a:pt x="10244969" y="6086136"/>
                </a:cubicBezTo>
                <a:cubicBezTo>
                  <a:pt x="10242133" y="6081088"/>
                  <a:pt x="10240565" y="6073620"/>
                  <a:pt x="10240265" y="6063733"/>
                </a:cubicBezTo>
                <a:lnTo>
                  <a:pt x="10295434" y="6063733"/>
                </a:lnTo>
                <a:lnTo>
                  <a:pt x="10295434" y="6060693"/>
                </a:lnTo>
                <a:cubicBezTo>
                  <a:pt x="10295451" y="6046496"/>
                  <a:pt x="10293136" y="6036026"/>
                  <a:pt x="10288489" y="6029283"/>
                </a:cubicBezTo>
                <a:cubicBezTo>
                  <a:pt x="10283843" y="6022540"/>
                  <a:pt x="10276763" y="6019196"/>
                  <a:pt x="10267251" y="6019251"/>
                </a:cubicBezTo>
                <a:close/>
                <a:moveTo>
                  <a:pt x="9859742" y="6004316"/>
                </a:moveTo>
                <a:lnTo>
                  <a:pt x="9859742" y="6021537"/>
                </a:lnTo>
                <a:lnTo>
                  <a:pt x="9847550" y="6021537"/>
                </a:lnTo>
                <a:lnTo>
                  <a:pt x="9847550" y="6029443"/>
                </a:lnTo>
                <a:lnTo>
                  <a:pt x="9859742" y="6029443"/>
                </a:lnTo>
                <a:lnTo>
                  <a:pt x="9859742" y="6082223"/>
                </a:lnTo>
                <a:cubicBezTo>
                  <a:pt x="9859785" y="6089845"/>
                  <a:pt x="9860933" y="6095369"/>
                  <a:pt x="9863185" y="6098795"/>
                </a:cubicBezTo>
                <a:cubicBezTo>
                  <a:pt x="9865438" y="6102220"/>
                  <a:pt x="9868538" y="6104353"/>
                  <a:pt x="9872484" y="6105193"/>
                </a:cubicBezTo>
                <a:cubicBezTo>
                  <a:pt x="9876430" y="6106033"/>
                  <a:pt x="9880965" y="6106386"/>
                  <a:pt x="9886088" y="6106252"/>
                </a:cubicBezTo>
                <a:cubicBezTo>
                  <a:pt x="9888723" y="6106186"/>
                  <a:pt x="9891339" y="6105825"/>
                  <a:pt x="9893936" y="6105169"/>
                </a:cubicBezTo>
                <a:cubicBezTo>
                  <a:pt x="9896533" y="6104513"/>
                  <a:pt x="9898388" y="6103962"/>
                  <a:pt x="9899499" y="6103516"/>
                </a:cubicBezTo>
                <a:lnTo>
                  <a:pt x="9897365" y="6096065"/>
                </a:lnTo>
                <a:cubicBezTo>
                  <a:pt x="9896152" y="6096499"/>
                  <a:pt x="9894463" y="6097000"/>
                  <a:pt x="9892298" y="6097567"/>
                </a:cubicBezTo>
                <a:cubicBezTo>
                  <a:pt x="9890133" y="6098134"/>
                  <a:pt x="9887910" y="6098445"/>
                  <a:pt x="9885630" y="6098499"/>
                </a:cubicBezTo>
                <a:cubicBezTo>
                  <a:pt x="9878760" y="6098679"/>
                  <a:pt x="9874061" y="6097672"/>
                  <a:pt x="9871533" y="6095476"/>
                </a:cubicBezTo>
                <a:cubicBezTo>
                  <a:pt x="9869006" y="6093280"/>
                  <a:pt x="9867812" y="6088811"/>
                  <a:pt x="9867952" y="6082071"/>
                </a:cubicBezTo>
                <a:lnTo>
                  <a:pt x="9867952" y="6029443"/>
                </a:lnTo>
                <a:lnTo>
                  <a:pt x="9894012" y="6029443"/>
                </a:lnTo>
                <a:lnTo>
                  <a:pt x="9894012" y="6021537"/>
                </a:lnTo>
                <a:lnTo>
                  <a:pt x="9867800" y="6021537"/>
                </a:lnTo>
                <a:lnTo>
                  <a:pt x="9867800" y="6004316"/>
                </a:lnTo>
                <a:close/>
                <a:moveTo>
                  <a:pt x="9797629" y="5995476"/>
                </a:moveTo>
                <a:cubicBezTo>
                  <a:pt x="9789108" y="5995485"/>
                  <a:pt x="9782028" y="5997597"/>
                  <a:pt x="9776390" y="6001811"/>
                </a:cubicBezTo>
                <a:cubicBezTo>
                  <a:pt x="9770752" y="6006026"/>
                  <a:pt x="9767828" y="6012291"/>
                  <a:pt x="9767616" y="6020607"/>
                </a:cubicBezTo>
                <a:cubicBezTo>
                  <a:pt x="9767757" y="6027485"/>
                  <a:pt x="9769596" y="6033009"/>
                  <a:pt x="9773131" y="6037179"/>
                </a:cubicBezTo>
                <a:cubicBezTo>
                  <a:pt x="9776667" y="6041350"/>
                  <a:pt x="9781051" y="6044789"/>
                  <a:pt x="9786284" y="6047496"/>
                </a:cubicBezTo>
                <a:cubicBezTo>
                  <a:pt x="9791517" y="6050203"/>
                  <a:pt x="9796750" y="6052800"/>
                  <a:pt x="9801983" y="6055288"/>
                </a:cubicBezTo>
                <a:cubicBezTo>
                  <a:pt x="9807215" y="6057776"/>
                  <a:pt x="9811600" y="6060775"/>
                  <a:pt x="9815135" y="6064287"/>
                </a:cubicBezTo>
                <a:cubicBezTo>
                  <a:pt x="9818671" y="6067799"/>
                  <a:pt x="9820509" y="6072445"/>
                  <a:pt x="9820651" y="6078226"/>
                </a:cubicBezTo>
                <a:cubicBezTo>
                  <a:pt x="9820526" y="6083463"/>
                  <a:pt x="9818997" y="6087537"/>
                  <a:pt x="9816066" y="6090448"/>
                </a:cubicBezTo>
                <a:cubicBezTo>
                  <a:pt x="9813134" y="6093359"/>
                  <a:pt x="9809550" y="6095390"/>
                  <a:pt x="9805314" y="6096540"/>
                </a:cubicBezTo>
                <a:cubicBezTo>
                  <a:pt x="9801078" y="6097690"/>
                  <a:pt x="9796941" y="6098241"/>
                  <a:pt x="9792902" y="6098194"/>
                </a:cubicBezTo>
                <a:cubicBezTo>
                  <a:pt x="9788071" y="6098172"/>
                  <a:pt x="9783669" y="6097645"/>
                  <a:pt x="9779698" y="6096612"/>
                </a:cubicBezTo>
                <a:cubicBezTo>
                  <a:pt x="9775726" y="6095580"/>
                  <a:pt x="9771902" y="6094177"/>
                  <a:pt x="9768224" y="6092402"/>
                </a:cubicBezTo>
                <a:lnTo>
                  <a:pt x="9764873" y="6100171"/>
                </a:lnTo>
                <a:cubicBezTo>
                  <a:pt x="9767555" y="6101694"/>
                  <a:pt x="9771056" y="6103094"/>
                  <a:pt x="9775377" y="6104371"/>
                </a:cubicBezTo>
                <a:cubicBezTo>
                  <a:pt x="9779698" y="6105647"/>
                  <a:pt x="9785642" y="6106325"/>
                  <a:pt x="9793207" y="6106405"/>
                </a:cubicBezTo>
                <a:cubicBezTo>
                  <a:pt x="9803650" y="6106440"/>
                  <a:pt x="9812223" y="6104087"/>
                  <a:pt x="9818924" y="6099346"/>
                </a:cubicBezTo>
                <a:cubicBezTo>
                  <a:pt x="9825626" y="6094604"/>
                  <a:pt x="9829091" y="6087259"/>
                  <a:pt x="9829319" y="6077311"/>
                </a:cubicBezTo>
                <a:cubicBezTo>
                  <a:pt x="9829176" y="6070484"/>
                  <a:pt x="9827322" y="6064932"/>
                  <a:pt x="9823755" y="6060653"/>
                </a:cubicBezTo>
                <a:cubicBezTo>
                  <a:pt x="9820189" y="6056375"/>
                  <a:pt x="9815767" y="6052810"/>
                  <a:pt x="9810489" y="6049959"/>
                </a:cubicBezTo>
                <a:cubicBezTo>
                  <a:pt x="9805211" y="6047107"/>
                  <a:pt x="9799934" y="6044408"/>
                  <a:pt x="9794656" y="6041862"/>
                </a:cubicBezTo>
                <a:cubicBezTo>
                  <a:pt x="9789378" y="6039315"/>
                  <a:pt x="9784956" y="6036360"/>
                  <a:pt x="9781389" y="6032997"/>
                </a:cubicBezTo>
                <a:cubicBezTo>
                  <a:pt x="9777823" y="6029633"/>
                  <a:pt x="9775969" y="6025300"/>
                  <a:pt x="9775826" y="6019997"/>
                </a:cubicBezTo>
                <a:cubicBezTo>
                  <a:pt x="9775998" y="6013957"/>
                  <a:pt x="9778170" y="6009613"/>
                  <a:pt x="9782344" y="6006964"/>
                </a:cubicBezTo>
                <a:cubicBezTo>
                  <a:pt x="9786518" y="6004316"/>
                  <a:pt x="9791664" y="6003020"/>
                  <a:pt x="9797781" y="6003077"/>
                </a:cubicBezTo>
                <a:cubicBezTo>
                  <a:pt x="9802571" y="6003106"/>
                  <a:pt x="9806637" y="6003506"/>
                  <a:pt x="9809978" y="6004278"/>
                </a:cubicBezTo>
                <a:cubicBezTo>
                  <a:pt x="9813320" y="6005050"/>
                  <a:pt x="9816471" y="6006021"/>
                  <a:pt x="9819431" y="6007193"/>
                </a:cubicBezTo>
                <a:lnTo>
                  <a:pt x="9821867" y="6000189"/>
                </a:lnTo>
                <a:cubicBezTo>
                  <a:pt x="9818944" y="5998862"/>
                  <a:pt x="9815533" y="5997753"/>
                  <a:pt x="9811636" y="5996864"/>
                </a:cubicBezTo>
                <a:cubicBezTo>
                  <a:pt x="9807739" y="5995974"/>
                  <a:pt x="9803070" y="5995511"/>
                  <a:pt x="9797629" y="5995476"/>
                </a:cubicBezTo>
                <a:close/>
                <a:moveTo>
                  <a:pt x="10018688" y="5995324"/>
                </a:moveTo>
                <a:cubicBezTo>
                  <a:pt x="10007226" y="5995415"/>
                  <a:pt x="9997496" y="5997856"/>
                  <a:pt x="9989498" y="6002647"/>
                </a:cubicBezTo>
                <a:cubicBezTo>
                  <a:pt x="9981500" y="6007437"/>
                  <a:pt x="9975408" y="6014032"/>
                  <a:pt x="9971221" y="6022430"/>
                </a:cubicBezTo>
                <a:cubicBezTo>
                  <a:pt x="9967034" y="6030828"/>
                  <a:pt x="9964926" y="6040484"/>
                  <a:pt x="9964898" y="6051398"/>
                </a:cubicBezTo>
                <a:cubicBezTo>
                  <a:pt x="9964918" y="6061674"/>
                  <a:pt x="9967026" y="6070944"/>
                  <a:pt x="9971221" y="6079208"/>
                </a:cubicBezTo>
                <a:cubicBezTo>
                  <a:pt x="9975416" y="6087472"/>
                  <a:pt x="9981576" y="6094042"/>
                  <a:pt x="9989701" y="6098918"/>
                </a:cubicBezTo>
                <a:cubicBezTo>
                  <a:pt x="9997826" y="6103795"/>
                  <a:pt x="10007793" y="6106290"/>
                  <a:pt x="10019603" y="6106405"/>
                </a:cubicBezTo>
                <a:cubicBezTo>
                  <a:pt x="10027000" y="6106373"/>
                  <a:pt x="10033128" y="6105942"/>
                  <a:pt x="10037988" y="6105112"/>
                </a:cubicBezTo>
                <a:cubicBezTo>
                  <a:pt x="10042848" y="6104282"/>
                  <a:pt x="10047332" y="6103243"/>
                  <a:pt x="10051442" y="6101996"/>
                </a:cubicBezTo>
                <a:lnTo>
                  <a:pt x="10051442" y="6051703"/>
                </a:lnTo>
                <a:lnTo>
                  <a:pt x="10042469" y="6051703"/>
                </a:lnTo>
                <a:lnTo>
                  <a:pt x="10042469" y="6095907"/>
                </a:lnTo>
                <a:cubicBezTo>
                  <a:pt x="10040297" y="6096482"/>
                  <a:pt x="10037591" y="6097047"/>
                  <a:pt x="10034351" y="6097603"/>
                </a:cubicBezTo>
                <a:cubicBezTo>
                  <a:pt x="10031112" y="6098159"/>
                  <a:pt x="10027110" y="6098457"/>
                  <a:pt x="10022346" y="6098499"/>
                </a:cubicBezTo>
                <a:cubicBezTo>
                  <a:pt x="10013595" y="6098534"/>
                  <a:pt x="10005606" y="6096872"/>
                  <a:pt x="9998379" y="6093514"/>
                </a:cubicBezTo>
                <a:cubicBezTo>
                  <a:pt x="9991152" y="6090156"/>
                  <a:pt x="9985365" y="6084892"/>
                  <a:pt x="9981018" y="6077723"/>
                </a:cubicBezTo>
                <a:cubicBezTo>
                  <a:pt x="9976670" y="6070554"/>
                  <a:pt x="9974440" y="6061271"/>
                  <a:pt x="9974327" y="6049874"/>
                </a:cubicBezTo>
                <a:cubicBezTo>
                  <a:pt x="9974449" y="6038744"/>
                  <a:pt x="9976594" y="6029772"/>
                  <a:pt x="9980764" y="6022955"/>
                </a:cubicBezTo>
                <a:cubicBezTo>
                  <a:pt x="9984933" y="6016139"/>
                  <a:pt x="9990399" y="6011186"/>
                  <a:pt x="9997160" y="6008096"/>
                </a:cubicBezTo>
                <a:cubicBezTo>
                  <a:pt x="10003921" y="6005006"/>
                  <a:pt x="10011249" y="6003486"/>
                  <a:pt x="10019145" y="6003535"/>
                </a:cubicBezTo>
                <a:cubicBezTo>
                  <a:pt x="10027164" y="6003633"/>
                  <a:pt x="10033268" y="6004236"/>
                  <a:pt x="10037456" y="6005345"/>
                </a:cubicBezTo>
                <a:cubicBezTo>
                  <a:pt x="10041644" y="6006453"/>
                  <a:pt x="10044735" y="6007476"/>
                  <a:pt x="10046727" y="6008412"/>
                </a:cubicBezTo>
                <a:lnTo>
                  <a:pt x="10049465" y="6000494"/>
                </a:lnTo>
                <a:cubicBezTo>
                  <a:pt x="10047976" y="5999746"/>
                  <a:pt x="10044944" y="5998732"/>
                  <a:pt x="10040367" y="5997453"/>
                </a:cubicBezTo>
                <a:cubicBezTo>
                  <a:pt x="10035791" y="5996173"/>
                  <a:pt x="10028565" y="5995463"/>
                  <a:pt x="10018688" y="5995324"/>
                </a:cubicBezTo>
                <a:close/>
                <a:moveTo>
                  <a:pt x="10199593" y="5989685"/>
                </a:moveTo>
                <a:lnTo>
                  <a:pt x="10199593" y="6104576"/>
                </a:lnTo>
                <a:lnTo>
                  <a:pt x="10207956" y="6104576"/>
                </a:lnTo>
                <a:lnTo>
                  <a:pt x="10207956" y="5989685"/>
                </a:lnTo>
                <a:close/>
                <a:moveTo>
                  <a:pt x="10161494" y="5989685"/>
                </a:moveTo>
                <a:lnTo>
                  <a:pt x="10161494" y="6104576"/>
                </a:lnTo>
                <a:lnTo>
                  <a:pt x="10169856" y="6104576"/>
                </a:lnTo>
                <a:lnTo>
                  <a:pt x="10169856" y="5989685"/>
                </a:lnTo>
                <a:close/>
                <a:moveTo>
                  <a:pt x="10071730" y="5863862"/>
                </a:moveTo>
                <a:lnTo>
                  <a:pt x="10071730" y="5887800"/>
                </a:lnTo>
                <a:cubicBezTo>
                  <a:pt x="10071274" y="5888269"/>
                  <a:pt x="10069627" y="5889363"/>
                  <a:pt x="10066789" y="5891081"/>
                </a:cubicBezTo>
                <a:cubicBezTo>
                  <a:pt x="10063950" y="5892799"/>
                  <a:pt x="10060519" y="5894457"/>
                  <a:pt x="10056494" y="5896057"/>
                </a:cubicBezTo>
                <a:cubicBezTo>
                  <a:pt x="10052470" y="5897656"/>
                  <a:pt x="10048451" y="5898512"/>
                  <a:pt x="10044438" y="5898626"/>
                </a:cubicBezTo>
                <a:cubicBezTo>
                  <a:pt x="10039210" y="5898715"/>
                  <a:pt x="10035144" y="5897470"/>
                  <a:pt x="10032241" y="5894890"/>
                </a:cubicBezTo>
                <a:cubicBezTo>
                  <a:pt x="10029338" y="5892311"/>
                  <a:pt x="10027864" y="5887863"/>
                  <a:pt x="10027820" y="5881548"/>
                </a:cubicBezTo>
                <a:cubicBezTo>
                  <a:pt x="10027820" y="5876884"/>
                  <a:pt x="10029649" y="5873021"/>
                  <a:pt x="10033308" y="5869959"/>
                </a:cubicBezTo>
                <a:cubicBezTo>
                  <a:pt x="10036968" y="5866896"/>
                  <a:pt x="10042456" y="5865168"/>
                  <a:pt x="10049775" y="5864774"/>
                </a:cubicBezTo>
                <a:close/>
                <a:moveTo>
                  <a:pt x="9900280" y="5863862"/>
                </a:moveTo>
                <a:lnTo>
                  <a:pt x="9900280" y="5887800"/>
                </a:lnTo>
                <a:cubicBezTo>
                  <a:pt x="9899824" y="5888269"/>
                  <a:pt x="9898177" y="5889363"/>
                  <a:pt x="9895339" y="5891081"/>
                </a:cubicBezTo>
                <a:cubicBezTo>
                  <a:pt x="9892500" y="5892799"/>
                  <a:pt x="9889069" y="5894457"/>
                  <a:pt x="9885044" y="5896057"/>
                </a:cubicBezTo>
                <a:cubicBezTo>
                  <a:pt x="9881020" y="5897656"/>
                  <a:pt x="9877001" y="5898512"/>
                  <a:pt x="9872988" y="5898626"/>
                </a:cubicBezTo>
                <a:cubicBezTo>
                  <a:pt x="9867760" y="5898715"/>
                  <a:pt x="9863694" y="5897470"/>
                  <a:pt x="9860791" y="5894890"/>
                </a:cubicBezTo>
                <a:cubicBezTo>
                  <a:pt x="9857888" y="5892311"/>
                  <a:pt x="9856414" y="5887863"/>
                  <a:pt x="9856370" y="5881548"/>
                </a:cubicBezTo>
                <a:cubicBezTo>
                  <a:pt x="9856370" y="5876884"/>
                  <a:pt x="9858199" y="5873021"/>
                  <a:pt x="9861858" y="5869959"/>
                </a:cubicBezTo>
                <a:cubicBezTo>
                  <a:pt x="9865518" y="5866896"/>
                  <a:pt x="9871006" y="5865168"/>
                  <a:pt x="9878325" y="5864774"/>
                </a:cubicBezTo>
                <a:close/>
                <a:moveTo>
                  <a:pt x="10317163" y="5826522"/>
                </a:moveTo>
                <a:cubicBezTo>
                  <a:pt x="10321566" y="5826551"/>
                  <a:pt x="10325110" y="5826760"/>
                  <a:pt x="10327797" y="5827151"/>
                </a:cubicBezTo>
                <a:cubicBezTo>
                  <a:pt x="10330485" y="5827542"/>
                  <a:pt x="10332886" y="5827942"/>
                  <a:pt x="10335001" y="5828352"/>
                </a:cubicBezTo>
                <a:lnTo>
                  <a:pt x="10335001" y="5889327"/>
                </a:lnTo>
                <a:cubicBezTo>
                  <a:pt x="10333324" y="5890969"/>
                  <a:pt x="10330847" y="5892830"/>
                  <a:pt x="10327569" y="5894911"/>
                </a:cubicBezTo>
                <a:cubicBezTo>
                  <a:pt x="10324291" y="5896991"/>
                  <a:pt x="10320212" y="5898128"/>
                  <a:pt x="10315334" y="5898321"/>
                </a:cubicBezTo>
                <a:cubicBezTo>
                  <a:pt x="10306119" y="5898413"/>
                  <a:pt x="10299239" y="5895714"/>
                  <a:pt x="10294694" y="5890223"/>
                </a:cubicBezTo>
                <a:cubicBezTo>
                  <a:pt x="10290149" y="5884732"/>
                  <a:pt x="10287881" y="5875897"/>
                  <a:pt x="10287890" y="5863718"/>
                </a:cubicBezTo>
                <a:cubicBezTo>
                  <a:pt x="10287851" y="5856924"/>
                  <a:pt x="10288777" y="5850728"/>
                  <a:pt x="10290669" y="5845131"/>
                </a:cubicBezTo>
                <a:cubicBezTo>
                  <a:pt x="10292560" y="5839534"/>
                  <a:pt x="10295655" y="5835055"/>
                  <a:pt x="10299952" y="5831694"/>
                </a:cubicBezTo>
                <a:cubicBezTo>
                  <a:pt x="10304249" y="5828332"/>
                  <a:pt x="10309986" y="5826609"/>
                  <a:pt x="10317163" y="5826522"/>
                </a:cubicBezTo>
                <a:close/>
                <a:moveTo>
                  <a:pt x="10145713" y="5826522"/>
                </a:moveTo>
                <a:cubicBezTo>
                  <a:pt x="10150115" y="5826551"/>
                  <a:pt x="10153660" y="5826760"/>
                  <a:pt x="10156347" y="5827151"/>
                </a:cubicBezTo>
                <a:cubicBezTo>
                  <a:pt x="10159034" y="5827542"/>
                  <a:pt x="10161436" y="5827942"/>
                  <a:pt x="10163551" y="5828352"/>
                </a:cubicBezTo>
                <a:lnTo>
                  <a:pt x="10163551" y="5889327"/>
                </a:lnTo>
                <a:cubicBezTo>
                  <a:pt x="10161874" y="5890969"/>
                  <a:pt x="10159397" y="5892830"/>
                  <a:pt x="10156119" y="5894911"/>
                </a:cubicBezTo>
                <a:cubicBezTo>
                  <a:pt x="10152841" y="5896991"/>
                  <a:pt x="10148762" y="5898128"/>
                  <a:pt x="10143884" y="5898321"/>
                </a:cubicBezTo>
                <a:cubicBezTo>
                  <a:pt x="10134669" y="5898413"/>
                  <a:pt x="10127789" y="5895714"/>
                  <a:pt x="10123244" y="5890223"/>
                </a:cubicBezTo>
                <a:cubicBezTo>
                  <a:pt x="10118699" y="5884732"/>
                  <a:pt x="10116431" y="5875897"/>
                  <a:pt x="10116440" y="5863718"/>
                </a:cubicBezTo>
                <a:cubicBezTo>
                  <a:pt x="10116401" y="5856924"/>
                  <a:pt x="10117327" y="5850728"/>
                  <a:pt x="10119219" y="5845131"/>
                </a:cubicBezTo>
                <a:cubicBezTo>
                  <a:pt x="10121110" y="5839534"/>
                  <a:pt x="10124205" y="5835055"/>
                  <a:pt x="10128502" y="5831694"/>
                </a:cubicBezTo>
                <a:cubicBezTo>
                  <a:pt x="10132799" y="5828332"/>
                  <a:pt x="10138536" y="5826609"/>
                  <a:pt x="10145713" y="5826522"/>
                </a:cubicBezTo>
                <a:close/>
                <a:moveTo>
                  <a:pt x="10915559" y="5826370"/>
                </a:moveTo>
                <a:cubicBezTo>
                  <a:pt x="10922903" y="5826528"/>
                  <a:pt x="10928559" y="5828515"/>
                  <a:pt x="10932527" y="5832332"/>
                </a:cubicBezTo>
                <a:cubicBezTo>
                  <a:pt x="10936494" y="5836148"/>
                  <a:pt x="10939225" y="5840846"/>
                  <a:pt x="10940720" y="5846424"/>
                </a:cubicBezTo>
                <a:cubicBezTo>
                  <a:pt x="10942214" y="5852002"/>
                  <a:pt x="10942924" y="5857513"/>
                  <a:pt x="10942848" y="5862955"/>
                </a:cubicBezTo>
                <a:cubicBezTo>
                  <a:pt x="10942916" y="5868778"/>
                  <a:pt x="10942188" y="5874443"/>
                  <a:pt x="10940663" y="5879949"/>
                </a:cubicBezTo>
                <a:cubicBezTo>
                  <a:pt x="10939139" y="5885456"/>
                  <a:pt x="10936411" y="5890014"/>
                  <a:pt x="10932482" y="5893624"/>
                </a:cubicBezTo>
                <a:cubicBezTo>
                  <a:pt x="10928552" y="5897233"/>
                  <a:pt x="10923013" y="5899104"/>
                  <a:pt x="10915864" y="5899236"/>
                </a:cubicBezTo>
                <a:cubicBezTo>
                  <a:pt x="10908801" y="5899126"/>
                  <a:pt x="10903228" y="5897347"/>
                  <a:pt x="10899145" y="5893900"/>
                </a:cubicBezTo>
                <a:cubicBezTo>
                  <a:pt x="10895063" y="5890454"/>
                  <a:pt x="10892166" y="5885999"/>
                  <a:pt x="10890455" y="5880537"/>
                </a:cubicBezTo>
                <a:cubicBezTo>
                  <a:pt x="10888745" y="5875074"/>
                  <a:pt x="10887915" y="5869264"/>
                  <a:pt x="10887965" y="5863108"/>
                </a:cubicBezTo>
                <a:cubicBezTo>
                  <a:pt x="10887899" y="5857519"/>
                  <a:pt x="10888658" y="5851928"/>
                  <a:pt x="10890241" y="5846334"/>
                </a:cubicBezTo>
                <a:cubicBezTo>
                  <a:pt x="10891824" y="5840739"/>
                  <a:pt x="10894626" y="5836051"/>
                  <a:pt x="10898648" y="5832270"/>
                </a:cubicBezTo>
                <a:cubicBezTo>
                  <a:pt x="10902670" y="5828488"/>
                  <a:pt x="10908307" y="5826521"/>
                  <a:pt x="10915559" y="5826370"/>
                </a:cubicBezTo>
                <a:close/>
                <a:moveTo>
                  <a:pt x="10229759" y="5826370"/>
                </a:moveTo>
                <a:cubicBezTo>
                  <a:pt x="10237103" y="5826528"/>
                  <a:pt x="10242759" y="5828515"/>
                  <a:pt x="10246727" y="5832332"/>
                </a:cubicBezTo>
                <a:cubicBezTo>
                  <a:pt x="10250694" y="5836148"/>
                  <a:pt x="10253425" y="5840846"/>
                  <a:pt x="10254920" y="5846424"/>
                </a:cubicBezTo>
                <a:cubicBezTo>
                  <a:pt x="10256414" y="5852002"/>
                  <a:pt x="10257124" y="5857513"/>
                  <a:pt x="10257048" y="5862955"/>
                </a:cubicBezTo>
                <a:cubicBezTo>
                  <a:pt x="10257116" y="5868778"/>
                  <a:pt x="10256388" y="5874443"/>
                  <a:pt x="10254863" y="5879949"/>
                </a:cubicBezTo>
                <a:cubicBezTo>
                  <a:pt x="10253339" y="5885456"/>
                  <a:pt x="10250611" y="5890014"/>
                  <a:pt x="10246682" y="5893624"/>
                </a:cubicBezTo>
                <a:cubicBezTo>
                  <a:pt x="10242752" y="5897233"/>
                  <a:pt x="10237213" y="5899104"/>
                  <a:pt x="10230064" y="5899236"/>
                </a:cubicBezTo>
                <a:cubicBezTo>
                  <a:pt x="10223001" y="5899126"/>
                  <a:pt x="10217428" y="5897347"/>
                  <a:pt x="10213345" y="5893900"/>
                </a:cubicBezTo>
                <a:cubicBezTo>
                  <a:pt x="10209263" y="5890454"/>
                  <a:pt x="10206366" y="5885999"/>
                  <a:pt x="10204655" y="5880537"/>
                </a:cubicBezTo>
                <a:cubicBezTo>
                  <a:pt x="10202945" y="5875074"/>
                  <a:pt x="10202115" y="5869264"/>
                  <a:pt x="10202165" y="5863108"/>
                </a:cubicBezTo>
                <a:cubicBezTo>
                  <a:pt x="10202099" y="5857519"/>
                  <a:pt x="10202858" y="5851928"/>
                  <a:pt x="10204441" y="5846334"/>
                </a:cubicBezTo>
                <a:cubicBezTo>
                  <a:pt x="10206024" y="5840739"/>
                  <a:pt x="10208826" y="5836051"/>
                  <a:pt x="10212848" y="5832270"/>
                </a:cubicBezTo>
                <a:cubicBezTo>
                  <a:pt x="10216871" y="5828488"/>
                  <a:pt x="10222507" y="5826521"/>
                  <a:pt x="10229759" y="5826370"/>
                </a:cubicBezTo>
                <a:close/>
                <a:moveTo>
                  <a:pt x="9974110" y="5826370"/>
                </a:moveTo>
                <a:cubicBezTo>
                  <a:pt x="9978601" y="5826392"/>
                  <a:pt x="9982235" y="5826690"/>
                  <a:pt x="9985011" y="5827265"/>
                </a:cubicBezTo>
                <a:cubicBezTo>
                  <a:pt x="9987787" y="5827840"/>
                  <a:pt x="9990201" y="5828558"/>
                  <a:pt x="9992253" y="5829419"/>
                </a:cubicBezTo>
                <a:lnTo>
                  <a:pt x="9992253" y="5887803"/>
                </a:lnTo>
                <a:cubicBezTo>
                  <a:pt x="9991144" y="5888850"/>
                  <a:pt x="9989450" y="5890228"/>
                  <a:pt x="9987171" y="5891936"/>
                </a:cubicBezTo>
                <a:cubicBezTo>
                  <a:pt x="9984893" y="5893644"/>
                  <a:pt x="9982284" y="5895191"/>
                  <a:pt x="9979345" y="5896577"/>
                </a:cubicBezTo>
                <a:cubicBezTo>
                  <a:pt x="9976406" y="5897963"/>
                  <a:pt x="9973390" y="5898697"/>
                  <a:pt x="9970299" y="5898779"/>
                </a:cubicBezTo>
                <a:cubicBezTo>
                  <a:pt x="9962574" y="5898823"/>
                  <a:pt x="9956450" y="5896028"/>
                  <a:pt x="9951927" y="5890394"/>
                </a:cubicBezTo>
                <a:cubicBezTo>
                  <a:pt x="9947404" y="5884760"/>
                  <a:pt x="9945092" y="5876021"/>
                  <a:pt x="9944990" y="5864175"/>
                </a:cubicBezTo>
                <a:cubicBezTo>
                  <a:pt x="9944955" y="5857949"/>
                  <a:pt x="9945890" y="5851972"/>
                  <a:pt x="9947797" y="5846243"/>
                </a:cubicBezTo>
                <a:cubicBezTo>
                  <a:pt x="9949703" y="5840515"/>
                  <a:pt x="9952796" y="5835802"/>
                  <a:pt x="9957074" y="5832106"/>
                </a:cubicBezTo>
                <a:cubicBezTo>
                  <a:pt x="9961353" y="5828410"/>
                  <a:pt x="9967031" y="5826497"/>
                  <a:pt x="9974110" y="5826370"/>
                </a:cubicBezTo>
                <a:close/>
                <a:moveTo>
                  <a:pt x="11541772" y="5825760"/>
                </a:moveTo>
                <a:cubicBezTo>
                  <a:pt x="11548985" y="5825877"/>
                  <a:pt x="11554302" y="5828692"/>
                  <a:pt x="11557723" y="5834204"/>
                </a:cubicBezTo>
                <a:cubicBezTo>
                  <a:pt x="11561144" y="5839716"/>
                  <a:pt x="11562840" y="5847220"/>
                  <a:pt x="11562811" y="5856716"/>
                </a:cubicBezTo>
                <a:lnTo>
                  <a:pt x="11516615" y="5856716"/>
                </a:lnTo>
                <a:cubicBezTo>
                  <a:pt x="11517549" y="5846353"/>
                  <a:pt x="11520255" y="5838601"/>
                  <a:pt x="11524734" y="5833461"/>
                </a:cubicBezTo>
                <a:cubicBezTo>
                  <a:pt x="11529213" y="5828321"/>
                  <a:pt x="11534892" y="5825754"/>
                  <a:pt x="11541772" y="5825760"/>
                </a:cubicBezTo>
                <a:close/>
                <a:moveTo>
                  <a:pt x="10674997" y="5825760"/>
                </a:moveTo>
                <a:cubicBezTo>
                  <a:pt x="10682210" y="5825877"/>
                  <a:pt x="10687527" y="5828692"/>
                  <a:pt x="10690948" y="5834204"/>
                </a:cubicBezTo>
                <a:cubicBezTo>
                  <a:pt x="10694369" y="5839716"/>
                  <a:pt x="10696065" y="5847220"/>
                  <a:pt x="10696037" y="5856716"/>
                </a:cubicBezTo>
                <a:lnTo>
                  <a:pt x="10649840" y="5856716"/>
                </a:lnTo>
                <a:cubicBezTo>
                  <a:pt x="10650774" y="5846353"/>
                  <a:pt x="10653480" y="5838601"/>
                  <a:pt x="10657959" y="5833461"/>
                </a:cubicBezTo>
                <a:cubicBezTo>
                  <a:pt x="10662438" y="5828321"/>
                  <a:pt x="10668117" y="5825754"/>
                  <a:pt x="10674997" y="5825760"/>
                </a:cubicBezTo>
                <a:close/>
                <a:moveTo>
                  <a:pt x="11379931" y="5821512"/>
                </a:moveTo>
                <a:lnTo>
                  <a:pt x="11379931" y="5874898"/>
                </a:lnTo>
                <a:cubicBezTo>
                  <a:pt x="11379810" y="5879357"/>
                  <a:pt x="11380222" y="5883993"/>
                  <a:pt x="11381166" y="5888806"/>
                </a:cubicBezTo>
                <a:cubicBezTo>
                  <a:pt x="11382111" y="5893619"/>
                  <a:pt x="11384317" y="5897714"/>
                  <a:pt x="11387783" y="5901091"/>
                </a:cubicBezTo>
                <a:cubicBezTo>
                  <a:pt x="11391250" y="5904467"/>
                  <a:pt x="11396706" y="5906230"/>
                  <a:pt x="11404151" y="5906380"/>
                </a:cubicBezTo>
                <a:cubicBezTo>
                  <a:pt x="11411056" y="5906142"/>
                  <a:pt x="11416989" y="5904679"/>
                  <a:pt x="11421951" y="5901989"/>
                </a:cubicBezTo>
                <a:cubicBezTo>
                  <a:pt x="11426912" y="5899300"/>
                  <a:pt x="11431092" y="5896810"/>
                  <a:pt x="11434491" y="5894519"/>
                </a:cubicBezTo>
                <a:lnTo>
                  <a:pt x="11434491" y="5904551"/>
                </a:lnTo>
                <a:lnTo>
                  <a:pt x="11442397" y="5904551"/>
                </a:lnTo>
                <a:lnTo>
                  <a:pt x="11442397" y="5821512"/>
                </a:lnTo>
                <a:lnTo>
                  <a:pt x="11434491" y="5821512"/>
                </a:lnTo>
                <a:lnTo>
                  <a:pt x="11434491" y="5886452"/>
                </a:lnTo>
                <a:cubicBezTo>
                  <a:pt x="11433240" y="5887319"/>
                  <a:pt x="11431066" y="5888683"/>
                  <a:pt x="11427969" y="5890546"/>
                </a:cubicBezTo>
                <a:cubicBezTo>
                  <a:pt x="11424871" y="5892408"/>
                  <a:pt x="11421342" y="5894144"/>
                  <a:pt x="11417381" y="5895752"/>
                </a:cubicBezTo>
                <a:cubicBezTo>
                  <a:pt x="11413420" y="5897361"/>
                  <a:pt x="11409518" y="5898217"/>
                  <a:pt x="11405675" y="5898321"/>
                </a:cubicBezTo>
                <a:cubicBezTo>
                  <a:pt x="11400085" y="5898251"/>
                  <a:pt x="11396053" y="5897006"/>
                  <a:pt x="11393580" y="5894587"/>
                </a:cubicBezTo>
                <a:cubicBezTo>
                  <a:pt x="11391107" y="5892167"/>
                  <a:pt x="11389582" y="5888996"/>
                  <a:pt x="11389006" y="5885072"/>
                </a:cubicBezTo>
                <a:cubicBezTo>
                  <a:pt x="11388430" y="5881148"/>
                  <a:pt x="11388193" y="5876895"/>
                  <a:pt x="11388295" y="5872313"/>
                </a:cubicBezTo>
                <a:lnTo>
                  <a:pt x="11388295" y="5821512"/>
                </a:lnTo>
                <a:close/>
                <a:moveTo>
                  <a:pt x="10370891" y="5821512"/>
                </a:moveTo>
                <a:lnTo>
                  <a:pt x="10370891" y="5904551"/>
                </a:lnTo>
                <a:lnTo>
                  <a:pt x="10379559" y="5904551"/>
                </a:lnTo>
                <a:lnTo>
                  <a:pt x="10379559" y="5821512"/>
                </a:lnTo>
                <a:close/>
                <a:moveTo>
                  <a:pt x="10052062" y="5819378"/>
                </a:moveTo>
                <a:cubicBezTo>
                  <a:pt x="10045887" y="5819486"/>
                  <a:pt x="10040512" y="5820069"/>
                  <a:pt x="10035939" y="5821126"/>
                </a:cubicBezTo>
                <a:cubicBezTo>
                  <a:pt x="10031365" y="5822184"/>
                  <a:pt x="10028506" y="5823071"/>
                  <a:pt x="10027364" y="5823787"/>
                </a:cubicBezTo>
                <a:lnTo>
                  <a:pt x="10029192" y="5830791"/>
                </a:lnTo>
                <a:cubicBezTo>
                  <a:pt x="10030615" y="5830299"/>
                  <a:pt x="10033258" y="5829568"/>
                  <a:pt x="10037120" y="5828599"/>
                </a:cubicBezTo>
                <a:cubicBezTo>
                  <a:pt x="10040983" y="5827630"/>
                  <a:pt x="10044845" y="5827090"/>
                  <a:pt x="10048707" y="5826979"/>
                </a:cubicBezTo>
                <a:cubicBezTo>
                  <a:pt x="10056604" y="5826795"/>
                  <a:pt x="10062423" y="5827888"/>
                  <a:pt x="10066165" y="5830258"/>
                </a:cubicBezTo>
                <a:cubicBezTo>
                  <a:pt x="10069907" y="5832628"/>
                  <a:pt x="10071762" y="5837381"/>
                  <a:pt x="10071730" y="5844516"/>
                </a:cubicBezTo>
                <a:lnTo>
                  <a:pt x="10071730" y="5857173"/>
                </a:lnTo>
                <a:lnTo>
                  <a:pt x="10050537" y="5857630"/>
                </a:lnTo>
                <a:cubicBezTo>
                  <a:pt x="10046123" y="5857707"/>
                  <a:pt x="10041553" y="5858432"/>
                  <a:pt x="10036827" y="5859805"/>
                </a:cubicBezTo>
                <a:cubicBezTo>
                  <a:pt x="10032100" y="5861179"/>
                  <a:pt x="10028085" y="5863653"/>
                  <a:pt x="10024781" y="5867229"/>
                </a:cubicBezTo>
                <a:cubicBezTo>
                  <a:pt x="10021478" y="5870804"/>
                  <a:pt x="10019754" y="5875933"/>
                  <a:pt x="10019609" y="5882615"/>
                </a:cubicBezTo>
                <a:cubicBezTo>
                  <a:pt x="10019659" y="5890184"/>
                  <a:pt x="10021612" y="5895931"/>
                  <a:pt x="10025468" y="5899854"/>
                </a:cubicBezTo>
                <a:cubicBezTo>
                  <a:pt x="10029324" y="5903777"/>
                  <a:pt x="10034783" y="5905749"/>
                  <a:pt x="10041847" y="5905770"/>
                </a:cubicBezTo>
                <a:cubicBezTo>
                  <a:pt x="10047967" y="5905670"/>
                  <a:pt x="10053073" y="5904855"/>
                  <a:pt x="10057166" y="5903325"/>
                </a:cubicBezTo>
                <a:cubicBezTo>
                  <a:pt x="10061259" y="5901794"/>
                  <a:pt x="10064514" y="5900145"/>
                  <a:pt x="10066930" y="5898377"/>
                </a:cubicBezTo>
                <a:cubicBezTo>
                  <a:pt x="10069345" y="5896610"/>
                  <a:pt x="10071098" y="5895320"/>
                  <a:pt x="10072186" y="5894509"/>
                </a:cubicBezTo>
                <a:cubicBezTo>
                  <a:pt x="10072708" y="5898359"/>
                  <a:pt x="10074325" y="5901154"/>
                  <a:pt x="10077034" y="5902895"/>
                </a:cubicBezTo>
                <a:cubicBezTo>
                  <a:pt x="10079744" y="5904637"/>
                  <a:pt x="10082694" y="5905493"/>
                  <a:pt x="10085884" y="5905465"/>
                </a:cubicBezTo>
                <a:lnTo>
                  <a:pt x="10087103" y="5905465"/>
                </a:lnTo>
                <a:lnTo>
                  <a:pt x="10087865" y="5898626"/>
                </a:lnTo>
                <a:cubicBezTo>
                  <a:pt x="10086068" y="5898493"/>
                  <a:pt x="10084328" y="5897807"/>
                  <a:pt x="10082646" y="5896568"/>
                </a:cubicBezTo>
                <a:cubicBezTo>
                  <a:pt x="10080963" y="5895329"/>
                  <a:pt x="10080061" y="5892965"/>
                  <a:pt x="10079941" y="5889477"/>
                </a:cubicBezTo>
                <a:lnTo>
                  <a:pt x="10079941" y="5840704"/>
                </a:lnTo>
                <a:cubicBezTo>
                  <a:pt x="10079808" y="5832946"/>
                  <a:pt x="10077220" y="5827429"/>
                  <a:pt x="10072176" y="5824153"/>
                </a:cubicBezTo>
                <a:cubicBezTo>
                  <a:pt x="10067132" y="5820877"/>
                  <a:pt x="10060427" y="5819285"/>
                  <a:pt x="10052062" y="5819378"/>
                </a:cubicBezTo>
                <a:close/>
                <a:moveTo>
                  <a:pt x="9880612" y="5819378"/>
                </a:moveTo>
                <a:cubicBezTo>
                  <a:pt x="9874437" y="5819486"/>
                  <a:pt x="9869062" y="5820069"/>
                  <a:pt x="9864489" y="5821126"/>
                </a:cubicBezTo>
                <a:cubicBezTo>
                  <a:pt x="9859915" y="5822184"/>
                  <a:pt x="9857056" y="5823071"/>
                  <a:pt x="9855914" y="5823787"/>
                </a:cubicBezTo>
                <a:lnTo>
                  <a:pt x="9857742" y="5830791"/>
                </a:lnTo>
                <a:cubicBezTo>
                  <a:pt x="9859165" y="5830299"/>
                  <a:pt x="9861808" y="5829568"/>
                  <a:pt x="9865670" y="5828599"/>
                </a:cubicBezTo>
                <a:cubicBezTo>
                  <a:pt x="9869533" y="5827630"/>
                  <a:pt x="9873395" y="5827090"/>
                  <a:pt x="9877257" y="5826979"/>
                </a:cubicBezTo>
                <a:cubicBezTo>
                  <a:pt x="9885154" y="5826795"/>
                  <a:pt x="9890973" y="5827888"/>
                  <a:pt x="9894715" y="5830258"/>
                </a:cubicBezTo>
                <a:cubicBezTo>
                  <a:pt x="9898457" y="5832628"/>
                  <a:pt x="9900312" y="5837381"/>
                  <a:pt x="9900280" y="5844516"/>
                </a:cubicBezTo>
                <a:lnTo>
                  <a:pt x="9900280" y="5857173"/>
                </a:lnTo>
                <a:lnTo>
                  <a:pt x="9879087" y="5857630"/>
                </a:lnTo>
                <a:cubicBezTo>
                  <a:pt x="9874673" y="5857707"/>
                  <a:pt x="9870103" y="5858432"/>
                  <a:pt x="9865377" y="5859805"/>
                </a:cubicBezTo>
                <a:cubicBezTo>
                  <a:pt x="9860650" y="5861179"/>
                  <a:pt x="9856635" y="5863653"/>
                  <a:pt x="9853331" y="5867229"/>
                </a:cubicBezTo>
                <a:cubicBezTo>
                  <a:pt x="9850028" y="5870804"/>
                  <a:pt x="9848304" y="5875933"/>
                  <a:pt x="9848159" y="5882615"/>
                </a:cubicBezTo>
                <a:cubicBezTo>
                  <a:pt x="9848209" y="5890184"/>
                  <a:pt x="9850162" y="5895931"/>
                  <a:pt x="9854018" y="5899854"/>
                </a:cubicBezTo>
                <a:cubicBezTo>
                  <a:pt x="9857874" y="5903777"/>
                  <a:pt x="9863333" y="5905749"/>
                  <a:pt x="9870396" y="5905770"/>
                </a:cubicBezTo>
                <a:cubicBezTo>
                  <a:pt x="9876517" y="5905670"/>
                  <a:pt x="9881623" y="5904855"/>
                  <a:pt x="9885716" y="5903325"/>
                </a:cubicBezTo>
                <a:cubicBezTo>
                  <a:pt x="9889809" y="5901794"/>
                  <a:pt x="9893064" y="5900145"/>
                  <a:pt x="9895480" y="5898377"/>
                </a:cubicBezTo>
                <a:cubicBezTo>
                  <a:pt x="9897895" y="5896610"/>
                  <a:pt x="9899647" y="5895320"/>
                  <a:pt x="9900736" y="5894509"/>
                </a:cubicBezTo>
                <a:cubicBezTo>
                  <a:pt x="9901258" y="5898359"/>
                  <a:pt x="9902875" y="5901154"/>
                  <a:pt x="9905584" y="5902895"/>
                </a:cubicBezTo>
                <a:cubicBezTo>
                  <a:pt x="9908294" y="5904637"/>
                  <a:pt x="9911244" y="5905493"/>
                  <a:pt x="9914434" y="5905465"/>
                </a:cubicBezTo>
                <a:lnTo>
                  <a:pt x="9915653" y="5905465"/>
                </a:lnTo>
                <a:lnTo>
                  <a:pt x="9916415" y="5898626"/>
                </a:lnTo>
                <a:cubicBezTo>
                  <a:pt x="9914618" y="5898493"/>
                  <a:pt x="9912878" y="5897807"/>
                  <a:pt x="9911196" y="5896568"/>
                </a:cubicBezTo>
                <a:cubicBezTo>
                  <a:pt x="9909513" y="5895329"/>
                  <a:pt x="9908611" y="5892965"/>
                  <a:pt x="9908491" y="5889477"/>
                </a:cubicBezTo>
                <a:lnTo>
                  <a:pt x="9908491" y="5840704"/>
                </a:lnTo>
                <a:cubicBezTo>
                  <a:pt x="9908358" y="5832946"/>
                  <a:pt x="9905770" y="5827429"/>
                  <a:pt x="9900726" y="5824153"/>
                </a:cubicBezTo>
                <a:cubicBezTo>
                  <a:pt x="9895682" y="5820877"/>
                  <a:pt x="9888977" y="5819285"/>
                  <a:pt x="9880612" y="5819378"/>
                </a:cubicBezTo>
                <a:close/>
                <a:moveTo>
                  <a:pt x="11543601" y="5819226"/>
                </a:moveTo>
                <a:cubicBezTo>
                  <a:pt x="11533444" y="5819016"/>
                  <a:pt x="11525025" y="5822366"/>
                  <a:pt x="11518342" y="5829276"/>
                </a:cubicBezTo>
                <a:cubicBezTo>
                  <a:pt x="11511659" y="5836186"/>
                  <a:pt x="11508194" y="5847917"/>
                  <a:pt x="11507948" y="5864470"/>
                </a:cubicBezTo>
                <a:cubicBezTo>
                  <a:pt x="11508064" y="5880025"/>
                  <a:pt x="11511446" y="5890956"/>
                  <a:pt x="11518094" y="5897261"/>
                </a:cubicBezTo>
                <a:cubicBezTo>
                  <a:pt x="11524742" y="5903567"/>
                  <a:pt x="11533956" y="5906606"/>
                  <a:pt x="11545736" y="5906380"/>
                </a:cubicBezTo>
                <a:cubicBezTo>
                  <a:pt x="11553095" y="5906243"/>
                  <a:pt x="11558917" y="5905642"/>
                  <a:pt x="11563203" y="5904574"/>
                </a:cubicBezTo>
                <a:cubicBezTo>
                  <a:pt x="11567489" y="5903507"/>
                  <a:pt x="11569995" y="5902791"/>
                  <a:pt x="11570720" y="5902427"/>
                </a:cubicBezTo>
                <a:lnTo>
                  <a:pt x="11569047" y="5895119"/>
                </a:lnTo>
                <a:cubicBezTo>
                  <a:pt x="11568106" y="5895450"/>
                  <a:pt x="11566488" y="5895889"/>
                  <a:pt x="11564192" y="5896435"/>
                </a:cubicBezTo>
                <a:cubicBezTo>
                  <a:pt x="11561896" y="5896981"/>
                  <a:pt x="11559397" y="5897476"/>
                  <a:pt x="11556693" y="5897920"/>
                </a:cubicBezTo>
                <a:cubicBezTo>
                  <a:pt x="11553990" y="5898365"/>
                  <a:pt x="11551557" y="5898600"/>
                  <a:pt x="11549395" y="5898626"/>
                </a:cubicBezTo>
                <a:cubicBezTo>
                  <a:pt x="11543149" y="5898751"/>
                  <a:pt x="11537617" y="5897959"/>
                  <a:pt x="11532799" y="5896249"/>
                </a:cubicBezTo>
                <a:cubicBezTo>
                  <a:pt x="11527981" y="5894538"/>
                  <a:pt x="11524155" y="5891159"/>
                  <a:pt x="11521319" y="5886111"/>
                </a:cubicBezTo>
                <a:cubicBezTo>
                  <a:pt x="11518483" y="5881063"/>
                  <a:pt x="11516915" y="5873595"/>
                  <a:pt x="11516615" y="5863708"/>
                </a:cubicBezTo>
                <a:lnTo>
                  <a:pt x="11571784" y="5863708"/>
                </a:lnTo>
                <a:lnTo>
                  <a:pt x="11571784" y="5860668"/>
                </a:lnTo>
                <a:cubicBezTo>
                  <a:pt x="11571801" y="5846471"/>
                  <a:pt x="11569486" y="5836001"/>
                  <a:pt x="11564839" y="5829258"/>
                </a:cubicBezTo>
                <a:cubicBezTo>
                  <a:pt x="11560193" y="5822515"/>
                  <a:pt x="11553113" y="5819171"/>
                  <a:pt x="11543601" y="5819226"/>
                </a:cubicBezTo>
                <a:close/>
                <a:moveTo>
                  <a:pt x="11240314" y="5819226"/>
                </a:moveTo>
                <a:cubicBezTo>
                  <a:pt x="11228898" y="5819349"/>
                  <a:pt x="11219884" y="5823252"/>
                  <a:pt x="11213273" y="5830934"/>
                </a:cubicBezTo>
                <a:cubicBezTo>
                  <a:pt x="11206662" y="5838617"/>
                  <a:pt x="11203286" y="5849342"/>
                  <a:pt x="11203148" y="5863108"/>
                </a:cubicBezTo>
                <a:cubicBezTo>
                  <a:pt x="11203090" y="5878030"/>
                  <a:pt x="11206363" y="5888920"/>
                  <a:pt x="11212968" y="5895777"/>
                </a:cubicBezTo>
                <a:cubicBezTo>
                  <a:pt x="11219573" y="5902633"/>
                  <a:pt x="11229856" y="5906015"/>
                  <a:pt x="11243819" y="5905922"/>
                </a:cubicBezTo>
                <a:cubicBezTo>
                  <a:pt x="11248144" y="5905837"/>
                  <a:pt x="11252030" y="5905438"/>
                  <a:pt x="11255478" y="5904725"/>
                </a:cubicBezTo>
                <a:cubicBezTo>
                  <a:pt x="11258926" y="5904013"/>
                  <a:pt x="11261136" y="5903499"/>
                  <a:pt x="11262107" y="5903186"/>
                </a:cubicBezTo>
                <a:lnTo>
                  <a:pt x="11260583" y="5896035"/>
                </a:lnTo>
                <a:cubicBezTo>
                  <a:pt x="11259345" y="5896324"/>
                  <a:pt x="11257288" y="5896737"/>
                  <a:pt x="11254411" y="5897273"/>
                </a:cubicBezTo>
                <a:cubicBezTo>
                  <a:pt x="11251535" y="5897810"/>
                  <a:pt x="11248410" y="5898109"/>
                  <a:pt x="11245039" y="5898169"/>
                </a:cubicBezTo>
                <a:cubicBezTo>
                  <a:pt x="11232720" y="5898207"/>
                  <a:pt x="11224058" y="5895311"/>
                  <a:pt x="11219054" y="5889480"/>
                </a:cubicBezTo>
                <a:cubicBezTo>
                  <a:pt x="11214051" y="5883649"/>
                  <a:pt x="11211637" y="5874655"/>
                  <a:pt x="11211815" y="5862498"/>
                </a:cubicBezTo>
                <a:cubicBezTo>
                  <a:pt x="11211901" y="5851329"/>
                  <a:pt x="11214397" y="5842570"/>
                  <a:pt x="11219302" y="5836221"/>
                </a:cubicBezTo>
                <a:cubicBezTo>
                  <a:pt x="11224207" y="5829873"/>
                  <a:pt x="11231008" y="5826639"/>
                  <a:pt x="11239705" y="5826522"/>
                </a:cubicBezTo>
                <a:cubicBezTo>
                  <a:pt x="11244473" y="5826595"/>
                  <a:pt x="11248423" y="5827097"/>
                  <a:pt x="11251554" y="5828027"/>
                </a:cubicBezTo>
                <a:cubicBezTo>
                  <a:pt x="11254684" y="5828958"/>
                  <a:pt x="11257186" y="5829879"/>
                  <a:pt x="11259059" y="5830791"/>
                </a:cubicBezTo>
                <a:lnTo>
                  <a:pt x="11261955" y="5823634"/>
                </a:lnTo>
                <a:cubicBezTo>
                  <a:pt x="11260148" y="5822586"/>
                  <a:pt x="11257475" y="5821604"/>
                  <a:pt x="11253935" y="5820689"/>
                </a:cubicBezTo>
                <a:cubicBezTo>
                  <a:pt x="11250395" y="5819774"/>
                  <a:pt x="11245855" y="5819286"/>
                  <a:pt x="11240314" y="5819226"/>
                </a:cubicBezTo>
                <a:close/>
                <a:moveTo>
                  <a:pt x="11165420" y="5819226"/>
                </a:moveTo>
                <a:cubicBezTo>
                  <a:pt x="11157438" y="5819253"/>
                  <a:pt x="11151031" y="5821136"/>
                  <a:pt x="11146200" y="5824875"/>
                </a:cubicBezTo>
                <a:cubicBezTo>
                  <a:pt x="11141368" y="5828613"/>
                  <a:pt x="11138888" y="5834040"/>
                  <a:pt x="11138759" y="5841156"/>
                </a:cubicBezTo>
                <a:cubicBezTo>
                  <a:pt x="11138977" y="5848004"/>
                  <a:pt x="11141160" y="5853173"/>
                  <a:pt x="11145307" y="5856665"/>
                </a:cubicBezTo>
                <a:cubicBezTo>
                  <a:pt x="11149455" y="5860156"/>
                  <a:pt x="11154257" y="5862958"/>
                  <a:pt x="11159714" y="5865070"/>
                </a:cubicBezTo>
                <a:cubicBezTo>
                  <a:pt x="11165171" y="5867183"/>
                  <a:pt x="11169973" y="5869594"/>
                  <a:pt x="11174120" y="5872304"/>
                </a:cubicBezTo>
                <a:cubicBezTo>
                  <a:pt x="11178267" y="5875014"/>
                  <a:pt x="11180450" y="5879012"/>
                  <a:pt x="11180669" y="5884297"/>
                </a:cubicBezTo>
                <a:cubicBezTo>
                  <a:pt x="11180538" y="5888981"/>
                  <a:pt x="11178397" y="5892608"/>
                  <a:pt x="11174245" y="5895177"/>
                </a:cubicBezTo>
                <a:cubicBezTo>
                  <a:pt x="11170093" y="5897746"/>
                  <a:pt x="11164711" y="5899048"/>
                  <a:pt x="11158101" y="5899083"/>
                </a:cubicBezTo>
                <a:cubicBezTo>
                  <a:pt x="11153978" y="5899001"/>
                  <a:pt x="11150105" y="5898518"/>
                  <a:pt x="11146482" y="5897635"/>
                </a:cubicBezTo>
                <a:cubicBezTo>
                  <a:pt x="11142859" y="5896752"/>
                  <a:pt x="11139980" y="5895965"/>
                  <a:pt x="11137844" y="5895272"/>
                </a:cubicBezTo>
                <a:lnTo>
                  <a:pt x="11136015" y="5902731"/>
                </a:lnTo>
                <a:cubicBezTo>
                  <a:pt x="11137941" y="5903409"/>
                  <a:pt x="11140827" y="5904144"/>
                  <a:pt x="11144674" y="5904935"/>
                </a:cubicBezTo>
                <a:cubicBezTo>
                  <a:pt x="11148521" y="5905727"/>
                  <a:pt x="11153200" y="5906157"/>
                  <a:pt x="11158711" y="5906227"/>
                </a:cubicBezTo>
                <a:cubicBezTo>
                  <a:pt x="11163350" y="5906280"/>
                  <a:pt x="11167928" y="5905634"/>
                  <a:pt x="11172445" y="5904289"/>
                </a:cubicBezTo>
                <a:cubicBezTo>
                  <a:pt x="11176962" y="5902944"/>
                  <a:pt x="11180725" y="5900583"/>
                  <a:pt x="11183735" y="5897206"/>
                </a:cubicBezTo>
                <a:cubicBezTo>
                  <a:pt x="11186744" y="5893829"/>
                  <a:pt x="11188307" y="5889120"/>
                  <a:pt x="11188422" y="5883077"/>
                </a:cubicBezTo>
                <a:cubicBezTo>
                  <a:pt x="11188205" y="5876528"/>
                  <a:pt x="11186038" y="5871562"/>
                  <a:pt x="11181921" y="5868179"/>
                </a:cubicBezTo>
                <a:cubicBezTo>
                  <a:pt x="11177804" y="5864795"/>
                  <a:pt x="11173037" y="5862044"/>
                  <a:pt x="11167619" y="5859925"/>
                </a:cubicBezTo>
                <a:cubicBezTo>
                  <a:pt x="11162202" y="5857807"/>
                  <a:pt x="11157435" y="5855370"/>
                  <a:pt x="11153318" y="5852616"/>
                </a:cubicBezTo>
                <a:cubicBezTo>
                  <a:pt x="11149200" y="5849861"/>
                  <a:pt x="11147033" y="5845838"/>
                  <a:pt x="11146817" y="5840547"/>
                </a:cubicBezTo>
                <a:cubicBezTo>
                  <a:pt x="11146836" y="5836561"/>
                  <a:pt x="11148285" y="5833252"/>
                  <a:pt x="11151163" y="5830619"/>
                </a:cubicBezTo>
                <a:cubicBezTo>
                  <a:pt x="11154041" y="5827986"/>
                  <a:pt x="11158234" y="5826620"/>
                  <a:pt x="11163743" y="5826522"/>
                </a:cubicBezTo>
                <a:cubicBezTo>
                  <a:pt x="11168406" y="5826601"/>
                  <a:pt x="11172269" y="5827014"/>
                  <a:pt x="11175331" y="5827761"/>
                </a:cubicBezTo>
                <a:cubicBezTo>
                  <a:pt x="11178393" y="5828507"/>
                  <a:pt x="11180578" y="5829110"/>
                  <a:pt x="11181885" y="5829571"/>
                </a:cubicBezTo>
                <a:lnTo>
                  <a:pt x="11183557" y="5822418"/>
                </a:lnTo>
                <a:cubicBezTo>
                  <a:pt x="11182632" y="5822085"/>
                  <a:pt x="11180525" y="5821496"/>
                  <a:pt x="11177235" y="5820651"/>
                </a:cubicBezTo>
                <a:cubicBezTo>
                  <a:pt x="11173946" y="5819805"/>
                  <a:pt x="11170007" y="5819330"/>
                  <a:pt x="11165420" y="5819226"/>
                </a:cubicBezTo>
                <a:close/>
                <a:moveTo>
                  <a:pt x="11002189" y="5819226"/>
                </a:moveTo>
                <a:cubicBezTo>
                  <a:pt x="10990773" y="5819349"/>
                  <a:pt x="10981759" y="5823252"/>
                  <a:pt x="10975148" y="5830934"/>
                </a:cubicBezTo>
                <a:cubicBezTo>
                  <a:pt x="10968537" y="5838617"/>
                  <a:pt x="10965161" y="5849342"/>
                  <a:pt x="10965023" y="5863108"/>
                </a:cubicBezTo>
                <a:cubicBezTo>
                  <a:pt x="10964965" y="5878030"/>
                  <a:pt x="10968238" y="5888920"/>
                  <a:pt x="10974843" y="5895777"/>
                </a:cubicBezTo>
                <a:cubicBezTo>
                  <a:pt x="10981448" y="5902633"/>
                  <a:pt x="10991731" y="5906015"/>
                  <a:pt x="11005694" y="5905922"/>
                </a:cubicBezTo>
                <a:cubicBezTo>
                  <a:pt x="11010019" y="5905837"/>
                  <a:pt x="11013905" y="5905438"/>
                  <a:pt x="11017353" y="5904725"/>
                </a:cubicBezTo>
                <a:cubicBezTo>
                  <a:pt x="11020801" y="5904013"/>
                  <a:pt x="11023011" y="5903499"/>
                  <a:pt x="11023982" y="5903186"/>
                </a:cubicBezTo>
                <a:lnTo>
                  <a:pt x="11022458" y="5896035"/>
                </a:lnTo>
                <a:cubicBezTo>
                  <a:pt x="11021220" y="5896324"/>
                  <a:pt x="11019163" y="5896737"/>
                  <a:pt x="11016286" y="5897273"/>
                </a:cubicBezTo>
                <a:cubicBezTo>
                  <a:pt x="11013410" y="5897810"/>
                  <a:pt x="11010285" y="5898109"/>
                  <a:pt x="11006913" y="5898169"/>
                </a:cubicBezTo>
                <a:cubicBezTo>
                  <a:pt x="10994595" y="5898207"/>
                  <a:pt x="10985933" y="5895311"/>
                  <a:pt x="10980929" y="5889480"/>
                </a:cubicBezTo>
                <a:cubicBezTo>
                  <a:pt x="10975925" y="5883649"/>
                  <a:pt x="10973513" y="5874655"/>
                  <a:pt x="10973690" y="5862498"/>
                </a:cubicBezTo>
                <a:cubicBezTo>
                  <a:pt x="10973776" y="5851329"/>
                  <a:pt x="10976272" y="5842570"/>
                  <a:pt x="10981177" y="5836221"/>
                </a:cubicBezTo>
                <a:cubicBezTo>
                  <a:pt x="10986082" y="5829873"/>
                  <a:pt x="10992883" y="5826639"/>
                  <a:pt x="11001579" y="5826522"/>
                </a:cubicBezTo>
                <a:cubicBezTo>
                  <a:pt x="11006348" y="5826595"/>
                  <a:pt x="11010298" y="5827097"/>
                  <a:pt x="11013429" y="5828027"/>
                </a:cubicBezTo>
                <a:cubicBezTo>
                  <a:pt x="11016559" y="5828958"/>
                  <a:pt x="11019061" y="5829879"/>
                  <a:pt x="11020934" y="5830791"/>
                </a:cubicBezTo>
                <a:lnTo>
                  <a:pt x="11023830" y="5823634"/>
                </a:lnTo>
                <a:cubicBezTo>
                  <a:pt x="11022023" y="5822586"/>
                  <a:pt x="11019350" y="5821604"/>
                  <a:pt x="11015810" y="5820689"/>
                </a:cubicBezTo>
                <a:cubicBezTo>
                  <a:pt x="11012270" y="5819774"/>
                  <a:pt x="11007729" y="5819286"/>
                  <a:pt x="11002189" y="5819226"/>
                </a:cubicBezTo>
                <a:close/>
                <a:moveTo>
                  <a:pt x="10916017" y="5819226"/>
                </a:moveTo>
                <a:cubicBezTo>
                  <a:pt x="10905283" y="5819266"/>
                  <a:pt x="10896533" y="5823067"/>
                  <a:pt x="10889768" y="5830629"/>
                </a:cubicBezTo>
                <a:cubicBezTo>
                  <a:pt x="10883003" y="5838191"/>
                  <a:pt x="10879513" y="5849271"/>
                  <a:pt x="10879297" y="5863870"/>
                </a:cubicBezTo>
                <a:cubicBezTo>
                  <a:pt x="10879417" y="5877712"/>
                  <a:pt x="10882641" y="5888246"/>
                  <a:pt x="10888967" y="5895471"/>
                </a:cubicBezTo>
                <a:cubicBezTo>
                  <a:pt x="10895294" y="5902697"/>
                  <a:pt x="10904006" y="5906333"/>
                  <a:pt x="10915102" y="5906380"/>
                </a:cubicBezTo>
                <a:cubicBezTo>
                  <a:pt x="10925684" y="5906409"/>
                  <a:pt x="10934319" y="5902849"/>
                  <a:pt x="10941008" y="5895700"/>
                </a:cubicBezTo>
                <a:cubicBezTo>
                  <a:pt x="10947697" y="5888551"/>
                  <a:pt x="10951149" y="5877636"/>
                  <a:pt x="10951364" y="5862955"/>
                </a:cubicBezTo>
                <a:cubicBezTo>
                  <a:pt x="10951368" y="5848795"/>
                  <a:pt x="10948430" y="5837982"/>
                  <a:pt x="10942551" y="5830515"/>
                </a:cubicBezTo>
                <a:cubicBezTo>
                  <a:pt x="10936673" y="5823048"/>
                  <a:pt x="10927828" y="5819285"/>
                  <a:pt x="10916017" y="5819226"/>
                </a:cubicBezTo>
                <a:close/>
                <a:moveTo>
                  <a:pt x="10676826" y="5819226"/>
                </a:moveTo>
                <a:cubicBezTo>
                  <a:pt x="10666669" y="5819016"/>
                  <a:pt x="10658249" y="5822366"/>
                  <a:pt x="10651567" y="5829276"/>
                </a:cubicBezTo>
                <a:cubicBezTo>
                  <a:pt x="10644884" y="5836186"/>
                  <a:pt x="10641419" y="5847917"/>
                  <a:pt x="10641173" y="5864470"/>
                </a:cubicBezTo>
                <a:cubicBezTo>
                  <a:pt x="10641289" y="5880025"/>
                  <a:pt x="10644671" y="5890956"/>
                  <a:pt x="10651319" y="5897261"/>
                </a:cubicBezTo>
                <a:cubicBezTo>
                  <a:pt x="10657967" y="5903567"/>
                  <a:pt x="10667181" y="5906606"/>
                  <a:pt x="10678961" y="5906380"/>
                </a:cubicBezTo>
                <a:cubicBezTo>
                  <a:pt x="10686319" y="5906243"/>
                  <a:pt x="10692142" y="5905642"/>
                  <a:pt x="10696428" y="5904574"/>
                </a:cubicBezTo>
                <a:cubicBezTo>
                  <a:pt x="10700714" y="5903507"/>
                  <a:pt x="10703219" y="5902791"/>
                  <a:pt x="10703944" y="5902427"/>
                </a:cubicBezTo>
                <a:lnTo>
                  <a:pt x="10702272" y="5895119"/>
                </a:lnTo>
                <a:cubicBezTo>
                  <a:pt x="10701331" y="5895450"/>
                  <a:pt x="10699713" y="5895889"/>
                  <a:pt x="10697417" y="5896435"/>
                </a:cubicBezTo>
                <a:cubicBezTo>
                  <a:pt x="10695121" y="5896981"/>
                  <a:pt x="10692622" y="5897476"/>
                  <a:pt x="10689918" y="5897920"/>
                </a:cubicBezTo>
                <a:cubicBezTo>
                  <a:pt x="10687215" y="5898365"/>
                  <a:pt x="10684782" y="5898600"/>
                  <a:pt x="10682620" y="5898626"/>
                </a:cubicBezTo>
                <a:cubicBezTo>
                  <a:pt x="10676373" y="5898751"/>
                  <a:pt x="10670842" y="5897959"/>
                  <a:pt x="10666024" y="5896249"/>
                </a:cubicBezTo>
                <a:cubicBezTo>
                  <a:pt x="10661206" y="5894538"/>
                  <a:pt x="10657380" y="5891159"/>
                  <a:pt x="10654544" y="5886111"/>
                </a:cubicBezTo>
                <a:cubicBezTo>
                  <a:pt x="10651708" y="5881063"/>
                  <a:pt x="10650141" y="5873595"/>
                  <a:pt x="10649840" y="5863708"/>
                </a:cubicBezTo>
                <a:lnTo>
                  <a:pt x="10705009" y="5863708"/>
                </a:lnTo>
                <a:lnTo>
                  <a:pt x="10705009" y="5860668"/>
                </a:lnTo>
                <a:cubicBezTo>
                  <a:pt x="10705026" y="5846471"/>
                  <a:pt x="10702711" y="5836001"/>
                  <a:pt x="10698064" y="5829258"/>
                </a:cubicBezTo>
                <a:cubicBezTo>
                  <a:pt x="10693418" y="5822515"/>
                  <a:pt x="10686338" y="5819171"/>
                  <a:pt x="10676826" y="5819226"/>
                </a:cubicBezTo>
                <a:close/>
                <a:moveTo>
                  <a:pt x="10506889" y="5819226"/>
                </a:moveTo>
                <a:cubicBezTo>
                  <a:pt x="10495473" y="5819349"/>
                  <a:pt x="10486459" y="5823252"/>
                  <a:pt x="10479848" y="5830934"/>
                </a:cubicBezTo>
                <a:cubicBezTo>
                  <a:pt x="10473236" y="5838617"/>
                  <a:pt x="10469861" y="5849342"/>
                  <a:pt x="10469723" y="5863108"/>
                </a:cubicBezTo>
                <a:cubicBezTo>
                  <a:pt x="10469665" y="5878030"/>
                  <a:pt x="10472938" y="5888920"/>
                  <a:pt x="10479543" y="5895777"/>
                </a:cubicBezTo>
                <a:cubicBezTo>
                  <a:pt x="10486148" y="5902633"/>
                  <a:pt x="10496431" y="5906015"/>
                  <a:pt x="10510394" y="5905922"/>
                </a:cubicBezTo>
                <a:cubicBezTo>
                  <a:pt x="10514719" y="5905837"/>
                  <a:pt x="10518605" y="5905438"/>
                  <a:pt x="10522053" y="5904725"/>
                </a:cubicBezTo>
                <a:cubicBezTo>
                  <a:pt x="10525501" y="5904013"/>
                  <a:pt x="10527711" y="5903499"/>
                  <a:pt x="10528682" y="5903186"/>
                </a:cubicBezTo>
                <a:lnTo>
                  <a:pt x="10527158" y="5896035"/>
                </a:lnTo>
                <a:cubicBezTo>
                  <a:pt x="10525920" y="5896324"/>
                  <a:pt x="10523863" y="5896737"/>
                  <a:pt x="10520986" y="5897273"/>
                </a:cubicBezTo>
                <a:cubicBezTo>
                  <a:pt x="10518109" y="5897810"/>
                  <a:pt x="10514985" y="5898109"/>
                  <a:pt x="10511613" y="5898169"/>
                </a:cubicBezTo>
                <a:cubicBezTo>
                  <a:pt x="10499294" y="5898207"/>
                  <a:pt x="10490633" y="5895311"/>
                  <a:pt x="10485629" y="5889480"/>
                </a:cubicBezTo>
                <a:cubicBezTo>
                  <a:pt x="10480625" y="5883649"/>
                  <a:pt x="10478212" y="5874655"/>
                  <a:pt x="10478390" y="5862498"/>
                </a:cubicBezTo>
                <a:cubicBezTo>
                  <a:pt x="10478476" y="5851329"/>
                  <a:pt x="10480971" y="5842570"/>
                  <a:pt x="10485877" y="5836221"/>
                </a:cubicBezTo>
                <a:cubicBezTo>
                  <a:pt x="10490782" y="5829873"/>
                  <a:pt x="10497583" y="5826639"/>
                  <a:pt x="10506279" y="5826522"/>
                </a:cubicBezTo>
                <a:cubicBezTo>
                  <a:pt x="10511048" y="5826595"/>
                  <a:pt x="10514998" y="5827097"/>
                  <a:pt x="10518129" y="5828027"/>
                </a:cubicBezTo>
                <a:cubicBezTo>
                  <a:pt x="10521259" y="5828958"/>
                  <a:pt x="10523761" y="5829879"/>
                  <a:pt x="10525634" y="5830791"/>
                </a:cubicBezTo>
                <a:lnTo>
                  <a:pt x="10528530" y="5823634"/>
                </a:lnTo>
                <a:cubicBezTo>
                  <a:pt x="10526723" y="5822586"/>
                  <a:pt x="10524050" y="5821604"/>
                  <a:pt x="10520510" y="5820689"/>
                </a:cubicBezTo>
                <a:cubicBezTo>
                  <a:pt x="10516970" y="5819774"/>
                  <a:pt x="10512429" y="5819286"/>
                  <a:pt x="10506889" y="5819226"/>
                </a:cubicBezTo>
                <a:close/>
                <a:moveTo>
                  <a:pt x="10431995" y="5819226"/>
                </a:moveTo>
                <a:cubicBezTo>
                  <a:pt x="10424013" y="5819253"/>
                  <a:pt x="10417606" y="5821136"/>
                  <a:pt x="10412774" y="5824875"/>
                </a:cubicBezTo>
                <a:cubicBezTo>
                  <a:pt x="10407943" y="5828613"/>
                  <a:pt x="10405463" y="5834040"/>
                  <a:pt x="10405333" y="5841156"/>
                </a:cubicBezTo>
                <a:cubicBezTo>
                  <a:pt x="10405552" y="5848004"/>
                  <a:pt x="10407735" y="5853173"/>
                  <a:pt x="10411882" y="5856665"/>
                </a:cubicBezTo>
                <a:cubicBezTo>
                  <a:pt x="10416029" y="5860156"/>
                  <a:pt x="10420831" y="5862958"/>
                  <a:pt x="10426289" y="5865070"/>
                </a:cubicBezTo>
                <a:cubicBezTo>
                  <a:pt x="10431745" y="5867183"/>
                  <a:pt x="10436548" y="5869594"/>
                  <a:pt x="10440695" y="5872304"/>
                </a:cubicBezTo>
                <a:cubicBezTo>
                  <a:pt x="10444842" y="5875014"/>
                  <a:pt x="10447025" y="5879012"/>
                  <a:pt x="10447243" y="5884297"/>
                </a:cubicBezTo>
                <a:cubicBezTo>
                  <a:pt x="10447113" y="5888981"/>
                  <a:pt x="10444972" y="5892608"/>
                  <a:pt x="10440820" y="5895177"/>
                </a:cubicBezTo>
                <a:cubicBezTo>
                  <a:pt x="10436668" y="5897746"/>
                  <a:pt x="10431287" y="5899048"/>
                  <a:pt x="10424676" y="5899083"/>
                </a:cubicBezTo>
                <a:cubicBezTo>
                  <a:pt x="10420553" y="5899001"/>
                  <a:pt x="10416680" y="5898518"/>
                  <a:pt x="10413057" y="5897635"/>
                </a:cubicBezTo>
                <a:cubicBezTo>
                  <a:pt x="10409434" y="5896752"/>
                  <a:pt x="10406555" y="5895965"/>
                  <a:pt x="10404419" y="5895272"/>
                </a:cubicBezTo>
                <a:lnTo>
                  <a:pt x="10402590" y="5902731"/>
                </a:lnTo>
                <a:cubicBezTo>
                  <a:pt x="10404516" y="5903409"/>
                  <a:pt x="10407402" y="5904144"/>
                  <a:pt x="10411249" y="5904935"/>
                </a:cubicBezTo>
                <a:cubicBezTo>
                  <a:pt x="10415096" y="5905727"/>
                  <a:pt x="10419775" y="5906157"/>
                  <a:pt x="10425286" y="5906227"/>
                </a:cubicBezTo>
                <a:cubicBezTo>
                  <a:pt x="10429925" y="5906280"/>
                  <a:pt x="10434503" y="5905634"/>
                  <a:pt x="10439020" y="5904289"/>
                </a:cubicBezTo>
                <a:cubicBezTo>
                  <a:pt x="10443537" y="5902944"/>
                  <a:pt x="10447301" y="5900583"/>
                  <a:pt x="10450310" y="5897206"/>
                </a:cubicBezTo>
                <a:cubicBezTo>
                  <a:pt x="10453319" y="5893829"/>
                  <a:pt x="10454881" y="5889120"/>
                  <a:pt x="10454997" y="5883077"/>
                </a:cubicBezTo>
                <a:cubicBezTo>
                  <a:pt x="10454780" y="5876528"/>
                  <a:pt x="10452613" y="5871562"/>
                  <a:pt x="10448496" y="5868179"/>
                </a:cubicBezTo>
                <a:cubicBezTo>
                  <a:pt x="10444379" y="5864795"/>
                  <a:pt x="10439612" y="5862044"/>
                  <a:pt x="10434194" y="5859925"/>
                </a:cubicBezTo>
                <a:cubicBezTo>
                  <a:pt x="10428777" y="5857807"/>
                  <a:pt x="10424010" y="5855370"/>
                  <a:pt x="10419893" y="5852616"/>
                </a:cubicBezTo>
                <a:cubicBezTo>
                  <a:pt x="10415775" y="5849861"/>
                  <a:pt x="10413608" y="5845838"/>
                  <a:pt x="10413392" y="5840547"/>
                </a:cubicBezTo>
                <a:cubicBezTo>
                  <a:pt x="10413411" y="5836561"/>
                  <a:pt x="10414859" y="5833252"/>
                  <a:pt x="10417737" y="5830619"/>
                </a:cubicBezTo>
                <a:cubicBezTo>
                  <a:pt x="10420616" y="5827986"/>
                  <a:pt x="10424809" y="5826620"/>
                  <a:pt x="10430318" y="5826522"/>
                </a:cubicBezTo>
                <a:cubicBezTo>
                  <a:pt x="10434981" y="5826601"/>
                  <a:pt x="10438844" y="5827014"/>
                  <a:pt x="10441906" y="5827761"/>
                </a:cubicBezTo>
                <a:cubicBezTo>
                  <a:pt x="10444968" y="5828507"/>
                  <a:pt x="10447153" y="5829110"/>
                  <a:pt x="10448460" y="5829571"/>
                </a:cubicBezTo>
                <a:lnTo>
                  <a:pt x="10450132" y="5822418"/>
                </a:lnTo>
                <a:cubicBezTo>
                  <a:pt x="10449207" y="5822085"/>
                  <a:pt x="10447100" y="5821496"/>
                  <a:pt x="10443810" y="5820651"/>
                </a:cubicBezTo>
                <a:cubicBezTo>
                  <a:pt x="10440521" y="5819805"/>
                  <a:pt x="10436582" y="5819330"/>
                  <a:pt x="10431995" y="5819226"/>
                </a:cubicBezTo>
                <a:close/>
                <a:moveTo>
                  <a:pt x="10317316" y="5819226"/>
                </a:moveTo>
                <a:cubicBezTo>
                  <a:pt x="10310321" y="5819213"/>
                  <a:pt x="10303984" y="5820794"/>
                  <a:pt x="10298303" y="5823969"/>
                </a:cubicBezTo>
                <a:cubicBezTo>
                  <a:pt x="10292622" y="5827143"/>
                  <a:pt x="10288093" y="5831986"/>
                  <a:pt x="10284717" y="5838497"/>
                </a:cubicBezTo>
                <a:cubicBezTo>
                  <a:pt x="10281340" y="5845008"/>
                  <a:pt x="10279610" y="5853263"/>
                  <a:pt x="10279527" y="5863260"/>
                </a:cubicBezTo>
                <a:cubicBezTo>
                  <a:pt x="10279651" y="5875445"/>
                  <a:pt x="10281451" y="5884606"/>
                  <a:pt x="10284925" y="5890742"/>
                </a:cubicBezTo>
                <a:cubicBezTo>
                  <a:pt x="10288400" y="5896879"/>
                  <a:pt x="10292807" y="5900958"/>
                  <a:pt x="10298145" y="5902979"/>
                </a:cubicBezTo>
                <a:cubicBezTo>
                  <a:pt x="10303483" y="5905001"/>
                  <a:pt x="10309009" y="5905931"/>
                  <a:pt x="10314724" y="5905770"/>
                </a:cubicBezTo>
                <a:cubicBezTo>
                  <a:pt x="10319244" y="5905745"/>
                  <a:pt x="10323125" y="5905035"/>
                  <a:pt x="10326368" y="5903642"/>
                </a:cubicBezTo>
                <a:cubicBezTo>
                  <a:pt x="10329611" y="5902248"/>
                  <a:pt x="10332539" y="5900322"/>
                  <a:pt x="10335153" y="5897864"/>
                </a:cubicBezTo>
                <a:lnTo>
                  <a:pt x="10335153" y="5908363"/>
                </a:lnTo>
                <a:cubicBezTo>
                  <a:pt x="10335100" y="5915134"/>
                  <a:pt x="10333918" y="5920214"/>
                  <a:pt x="10331607" y="5923602"/>
                </a:cubicBezTo>
                <a:cubicBezTo>
                  <a:pt x="10329296" y="5926991"/>
                  <a:pt x="10326171" y="5929235"/>
                  <a:pt x="10322234" y="5930336"/>
                </a:cubicBezTo>
                <a:cubicBezTo>
                  <a:pt x="10318296" y="5931436"/>
                  <a:pt x="10313862" y="5931941"/>
                  <a:pt x="10308930" y="5931849"/>
                </a:cubicBezTo>
                <a:cubicBezTo>
                  <a:pt x="10306594" y="5931821"/>
                  <a:pt x="10303931" y="5931606"/>
                  <a:pt x="10300940" y="5931205"/>
                </a:cubicBezTo>
                <a:cubicBezTo>
                  <a:pt x="10297949" y="5930804"/>
                  <a:pt x="10295229" y="5930386"/>
                  <a:pt x="10292780" y="5929951"/>
                </a:cubicBezTo>
                <a:cubicBezTo>
                  <a:pt x="10290332" y="5929517"/>
                  <a:pt x="10288752" y="5929234"/>
                  <a:pt x="10288043" y="5929104"/>
                </a:cubicBezTo>
                <a:lnTo>
                  <a:pt x="10286370" y="5937018"/>
                </a:lnTo>
                <a:cubicBezTo>
                  <a:pt x="10287581" y="5937325"/>
                  <a:pt x="10290489" y="5937813"/>
                  <a:pt x="10295095" y="5938482"/>
                </a:cubicBezTo>
                <a:cubicBezTo>
                  <a:pt x="10299700" y="5939150"/>
                  <a:pt x="10305125" y="5939524"/>
                  <a:pt x="10311370" y="5939603"/>
                </a:cubicBezTo>
                <a:cubicBezTo>
                  <a:pt x="10321574" y="5939620"/>
                  <a:pt x="10329441" y="5937266"/>
                  <a:pt x="10334971" y="5932542"/>
                </a:cubicBezTo>
                <a:cubicBezTo>
                  <a:pt x="10340500" y="5927819"/>
                  <a:pt x="10343298" y="5920623"/>
                  <a:pt x="10343364" y="5910955"/>
                </a:cubicBezTo>
                <a:lnTo>
                  <a:pt x="10343364" y="5822114"/>
                </a:lnTo>
                <a:cubicBezTo>
                  <a:pt x="10339733" y="5821395"/>
                  <a:pt x="10335776" y="5820743"/>
                  <a:pt x="10331491" y="5820157"/>
                </a:cubicBezTo>
                <a:cubicBezTo>
                  <a:pt x="10327206" y="5819571"/>
                  <a:pt x="10322481" y="5819261"/>
                  <a:pt x="10317316" y="5819226"/>
                </a:cubicBezTo>
                <a:close/>
                <a:moveTo>
                  <a:pt x="10230217" y="5819226"/>
                </a:moveTo>
                <a:cubicBezTo>
                  <a:pt x="10219482" y="5819266"/>
                  <a:pt x="10210733" y="5823067"/>
                  <a:pt x="10203968" y="5830629"/>
                </a:cubicBezTo>
                <a:cubicBezTo>
                  <a:pt x="10197203" y="5838191"/>
                  <a:pt x="10193713" y="5849271"/>
                  <a:pt x="10193497" y="5863870"/>
                </a:cubicBezTo>
                <a:cubicBezTo>
                  <a:pt x="10193617" y="5877712"/>
                  <a:pt x="10196841" y="5888246"/>
                  <a:pt x="10203167" y="5895471"/>
                </a:cubicBezTo>
                <a:cubicBezTo>
                  <a:pt x="10209494" y="5902697"/>
                  <a:pt x="10218206" y="5906333"/>
                  <a:pt x="10229302" y="5906380"/>
                </a:cubicBezTo>
                <a:cubicBezTo>
                  <a:pt x="10239884" y="5906409"/>
                  <a:pt x="10248519" y="5902849"/>
                  <a:pt x="10255208" y="5895700"/>
                </a:cubicBezTo>
                <a:cubicBezTo>
                  <a:pt x="10261897" y="5888551"/>
                  <a:pt x="10265349" y="5877636"/>
                  <a:pt x="10265564" y="5862955"/>
                </a:cubicBezTo>
                <a:cubicBezTo>
                  <a:pt x="10265568" y="5848795"/>
                  <a:pt x="10262630" y="5837982"/>
                  <a:pt x="10256752" y="5830515"/>
                </a:cubicBezTo>
                <a:cubicBezTo>
                  <a:pt x="10250873" y="5823048"/>
                  <a:pt x="10242028" y="5819285"/>
                  <a:pt x="10230217" y="5819226"/>
                </a:cubicBezTo>
                <a:close/>
                <a:moveTo>
                  <a:pt x="10145866" y="5819226"/>
                </a:moveTo>
                <a:cubicBezTo>
                  <a:pt x="10138871" y="5819213"/>
                  <a:pt x="10132534" y="5820794"/>
                  <a:pt x="10126853" y="5823969"/>
                </a:cubicBezTo>
                <a:cubicBezTo>
                  <a:pt x="10121172" y="5827143"/>
                  <a:pt x="10116643" y="5831986"/>
                  <a:pt x="10113267" y="5838497"/>
                </a:cubicBezTo>
                <a:cubicBezTo>
                  <a:pt x="10109890" y="5845008"/>
                  <a:pt x="10108160" y="5853263"/>
                  <a:pt x="10108077" y="5863260"/>
                </a:cubicBezTo>
                <a:cubicBezTo>
                  <a:pt x="10108201" y="5875445"/>
                  <a:pt x="10110001" y="5884606"/>
                  <a:pt x="10113475" y="5890742"/>
                </a:cubicBezTo>
                <a:cubicBezTo>
                  <a:pt x="10116950" y="5896879"/>
                  <a:pt x="10121357" y="5900958"/>
                  <a:pt x="10126695" y="5902979"/>
                </a:cubicBezTo>
                <a:cubicBezTo>
                  <a:pt x="10132033" y="5905001"/>
                  <a:pt x="10137559" y="5905931"/>
                  <a:pt x="10143274" y="5905770"/>
                </a:cubicBezTo>
                <a:cubicBezTo>
                  <a:pt x="10147794" y="5905745"/>
                  <a:pt x="10151675" y="5905035"/>
                  <a:pt x="10154918" y="5903642"/>
                </a:cubicBezTo>
                <a:cubicBezTo>
                  <a:pt x="10158161" y="5902248"/>
                  <a:pt x="10161089" y="5900322"/>
                  <a:pt x="10163703" y="5897864"/>
                </a:cubicBezTo>
                <a:lnTo>
                  <a:pt x="10163703" y="5908363"/>
                </a:lnTo>
                <a:cubicBezTo>
                  <a:pt x="10163650" y="5915134"/>
                  <a:pt x="10162468" y="5920214"/>
                  <a:pt x="10160157" y="5923602"/>
                </a:cubicBezTo>
                <a:cubicBezTo>
                  <a:pt x="10157846" y="5926991"/>
                  <a:pt x="10154721" y="5929235"/>
                  <a:pt x="10150784" y="5930336"/>
                </a:cubicBezTo>
                <a:cubicBezTo>
                  <a:pt x="10146846" y="5931436"/>
                  <a:pt x="10142412" y="5931941"/>
                  <a:pt x="10137480" y="5931849"/>
                </a:cubicBezTo>
                <a:cubicBezTo>
                  <a:pt x="10135144" y="5931821"/>
                  <a:pt x="10132481" y="5931606"/>
                  <a:pt x="10129490" y="5931205"/>
                </a:cubicBezTo>
                <a:cubicBezTo>
                  <a:pt x="10126499" y="5930804"/>
                  <a:pt x="10123779" y="5930386"/>
                  <a:pt x="10121330" y="5929951"/>
                </a:cubicBezTo>
                <a:cubicBezTo>
                  <a:pt x="10118882" y="5929517"/>
                  <a:pt x="10117302" y="5929234"/>
                  <a:pt x="10116593" y="5929104"/>
                </a:cubicBezTo>
                <a:lnTo>
                  <a:pt x="10114920" y="5937018"/>
                </a:lnTo>
                <a:cubicBezTo>
                  <a:pt x="10116131" y="5937325"/>
                  <a:pt x="10119039" y="5937813"/>
                  <a:pt x="10123645" y="5938482"/>
                </a:cubicBezTo>
                <a:cubicBezTo>
                  <a:pt x="10128250" y="5939150"/>
                  <a:pt x="10133675" y="5939524"/>
                  <a:pt x="10139920" y="5939603"/>
                </a:cubicBezTo>
                <a:cubicBezTo>
                  <a:pt x="10150124" y="5939620"/>
                  <a:pt x="10157991" y="5937266"/>
                  <a:pt x="10163521" y="5932542"/>
                </a:cubicBezTo>
                <a:cubicBezTo>
                  <a:pt x="10169050" y="5927819"/>
                  <a:pt x="10171848" y="5920623"/>
                  <a:pt x="10171914" y="5910955"/>
                </a:cubicBezTo>
                <a:lnTo>
                  <a:pt x="10171914" y="5822114"/>
                </a:lnTo>
                <a:cubicBezTo>
                  <a:pt x="10168283" y="5821395"/>
                  <a:pt x="10164326" y="5820743"/>
                  <a:pt x="10160041" y="5820157"/>
                </a:cubicBezTo>
                <a:cubicBezTo>
                  <a:pt x="10155756" y="5819571"/>
                  <a:pt x="10151031" y="5819261"/>
                  <a:pt x="10145866" y="5819226"/>
                </a:cubicBezTo>
                <a:close/>
                <a:moveTo>
                  <a:pt x="10774141" y="5796823"/>
                </a:moveTo>
                <a:lnTo>
                  <a:pt x="10774141" y="5904551"/>
                </a:lnTo>
                <a:lnTo>
                  <a:pt x="10783114" y="5904551"/>
                </a:lnTo>
                <a:lnTo>
                  <a:pt x="10783114" y="5854411"/>
                </a:lnTo>
                <a:lnTo>
                  <a:pt x="10845769" y="5854411"/>
                </a:lnTo>
                <a:lnTo>
                  <a:pt x="10845769" y="5904551"/>
                </a:lnTo>
                <a:lnTo>
                  <a:pt x="10854742" y="5904551"/>
                </a:lnTo>
                <a:lnTo>
                  <a:pt x="10854742" y="5796823"/>
                </a:lnTo>
                <a:lnTo>
                  <a:pt x="10845769" y="5796823"/>
                </a:lnTo>
                <a:lnTo>
                  <a:pt x="10845769" y="5846505"/>
                </a:lnTo>
                <a:lnTo>
                  <a:pt x="10783114" y="5846505"/>
                </a:lnTo>
                <a:lnTo>
                  <a:pt x="10783114" y="5796823"/>
                </a:lnTo>
                <a:close/>
                <a:moveTo>
                  <a:pt x="9774017" y="5796823"/>
                </a:moveTo>
                <a:lnTo>
                  <a:pt x="9774017" y="5904551"/>
                </a:lnTo>
                <a:lnTo>
                  <a:pt x="9783142" y="5904551"/>
                </a:lnTo>
                <a:lnTo>
                  <a:pt x="9783142" y="5804272"/>
                </a:lnTo>
                <a:lnTo>
                  <a:pt x="9804029" y="5804272"/>
                </a:lnTo>
                <a:cubicBezTo>
                  <a:pt x="9812951" y="5804211"/>
                  <a:pt x="9819653" y="5806238"/>
                  <a:pt x="9824134" y="5810351"/>
                </a:cubicBezTo>
                <a:cubicBezTo>
                  <a:pt x="9828616" y="5814464"/>
                  <a:pt x="9830859" y="5821026"/>
                  <a:pt x="9830862" y="5830037"/>
                </a:cubicBezTo>
                <a:cubicBezTo>
                  <a:pt x="9830658" y="5839368"/>
                  <a:pt x="9827711" y="5845975"/>
                  <a:pt x="9822019" y="5849856"/>
                </a:cubicBezTo>
                <a:cubicBezTo>
                  <a:pt x="9816327" y="5853737"/>
                  <a:pt x="9809111" y="5855618"/>
                  <a:pt x="9800370" y="5855497"/>
                </a:cubicBezTo>
                <a:lnTo>
                  <a:pt x="9795948" y="5855497"/>
                </a:lnTo>
                <a:lnTo>
                  <a:pt x="9795948" y="5863403"/>
                </a:lnTo>
                <a:lnTo>
                  <a:pt x="9799455" y="5863403"/>
                </a:lnTo>
                <a:cubicBezTo>
                  <a:pt x="9813769" y="5863162"/>
                  <a:pt x="9824203" y="5859837"/>
                  <a:pt x="9830755" y="5853428"/>
                </a:cubicBezTo>
                <a:cubicBezTo>
                  <a:pt x="9837307" y="5847018"/>
                  <a:pt x="9840537" y="5838967"/>
                  <a:pt x="9840444" y="5829275"/>
                </a:cubicBezTo>
                <a:cubicBezTo>
                  <a:pt x="9840372" y="5818585"/>
                  <a:pt x="9837473" y="5810508"/>
                  <a:pt x="9831746" y="5805045"/>
                </a:cubicBezTo>
                <a:cubicBezTo>
                  <a:pt x="9826019" y="5799582"/>
                  <a:pt x="9817898" y="5796841"/>
                  <a:pt x="9807383" y="5796823"/>
                </a:cubicBezTo>
                <a:close/>
                <a:moveTo>
                  <a:pt x="11475944" y="5789660"/>
                </a:moveTo>
                <a:lnTo>
                  <a:pt x="11475944" y="5904551"/>
                </a:lnTo>
                <a:lnTo>
                  <a:pt x="11484307" y="5904551"/>
                </a:lnTo>
                <a:lnTo>
                  <a:pt x="11484307" y="5789660"/>
                </a:lnTo>
                <a:close/>
                <a:moveTo>
                  <a:pt x="11285444" y="5789660"/>
                </a:moveTo>
                <a:lnTo>
                  <a:pt x="11285444" y="5904551"/>
                </a:lnTo>
                <a:lnTo>
                  <a:pt x="11293807" y="5904551"/>
                </a:lnTo>
                <a:lnTo>
                  <a:pt x="11293807" y="5838714"/>
                </a:lnTo>
                <a:cubicBezTo>
                  <a:pt x="11295066" y="5837849"/>
                  <a:pt x="11297240" y="5836497"/>
                  <a:pt x="11300328" y="5834656"/>
                </a:cubicBezTo>
                <a:cubicBezTo>
                  <a:pt x="11303417" y="5832815"/>
                  <a:pt x="11306879" y="5831101"/>
                  <a:pt x="11310713" y="5829513"/>
                </a:cubicBezTo>
                <a:cubicBezTo>
                  <a:pt x="11314547" y="5827926"/>
                  <a:pt x="11318212" y="5827082"/>
                  <a:pt x="11321707" y="5826979"/>
                </a:cubicBezTo>
                <a:cubicBezTo>
                  <a:pt x="11327317" y="5827017"/>
                  <a:pt x="11331480" y="5828127"/>
                  <a:pt x="11334198" y="5830309"/>
                </a:cubicBezTo>
                <a:cubicBezTo>
                  <a:pt x="11336916" y="5832492"/>
                  <a:pt x="11338685" y="5835521"/>
                  <a:pt x="11339506" y="5839397"/>
                </a:cubicBezTo>
                <a:cubicBezTo>
                  <a:pt x="11340326" y="5843273"/>
                  <a:pt x="11340695" y="5847769"/>
                  <a:pt x="11340612" y="5852887"/>
                </a:cubicBezTo>
                <a:lnTo>
                  <a:pt x="11340612" y="5904551"/>
                </a:lnTo>
                <a:lnTo>
                  <a:pt x="11348366" y="5904551"/>
                </a:lnTo>
                <a:lnTo>
                  <a:pt x="11348366" y="5850449"/>
                </a:lnTo>
                <a:cubicBezTo>
                  <a:pt x="11348500" y="5845987"/>
                  <a:pt x="11348113" y="5841383"/>
                  <a:pt x="11347204" y="5836636"/>
                </a:cubicBezTo>
                <a:cubicBezTo>
                  <a:pt x="11346295" y="5831889"/>
                  <a:pt x="11344057" y="5827862"/>
                  <a:pt x="11340491" y="5824555"/>
                </a:cubicBezTo>
                <a:cubicBezTo>
                  <a:pt x="11336924" y="5821247"/>
                  <a:pt x="11331222" y="5819522"/>
                  <a:pt x="11323384" y="5819378"/>
                </a:cubicBezTo>
                <a:cubicBezTo>
                  <a:pt x="11316720" y="5819600"/>
                  <a:pt x="11310876" y="5821019"/>
                  <a:pt x="11305851" y="5823636"/>
                </a:cubicBezTo>
                <a:cubicBezTo>
                  <a:pt x="11300826" y="5826253"/>
                  <a:pt x="11296811" y="5828739"/>
                  <a:pt x="11293807" y="5831094"/>
                </a:cubicBezTo>
                <a:lnTo>
                  <a:pt x="11293807" y="5789660"/>
                </a:lnTo>
                <a:close/>
                <a:moveTo>
                  <a:pt x="11047319" y="5789660"/>
                </a:moveTo>
                <a:lnTo>
                  <a:pt x="11047319" y="5904551"/>
                </a:lnTo>
                <a:lnTo>
                  <a:pt x="11055682" y="5904551"/>
                </a:lnTo>
                <a:lnTo>
                  <a:pt x="11055682" y="5838714"/>
                </a:lnTo>
                <a:cubicBezTo>
                  <a:pt x="11056941" y="5837849"/>
                  <a:pt x="11059115" y="5836497"/>
                  <a:pt x="11062203" y="5834656"/>
                </a:cubicBezTo>
                <a:cubicBezTo>
                  <a:pt x="11065292" y="5832815"/>
                  <a:pt x="11068754" y="5831101"/>
                  <a:pt x="11072588" y="5829513"/>
                </a:cubicBezTo>
                <a:cubicBezTo>
                  <a:pt x="11076422" y="5827926"/>
                  <a:pt x="11080087" y="5827082"/>
                  <a:pt x="11083582" y="5826979"/>
                </a:cubicBezTo>
                <a:cubicBezTo>
                  <a:pt x="11089191" y="5827017"/>
                  <a:pt x="11093355" y="5828127"/>
                  <a:pt x="11096073" y="5830309"/>
                </a:cubicBezTo>
                <a:cubicBezTo>
                  <a:pt x="11098791" y="5832492"/>
                  <a:pt x="11100560" y="5835521"/>
                  <a:pt x="11101381" y="5839397"/>
                </a:cubicBezTo>
                <a:cubicBezTo>
                  <a:pt x="11102201" y="5843273"/>
                  <a:pt x="11102570" y="5847769"/>
                  <a:pt x="11102487" y="5852887"/>
                </a:cubicBezTo>
                <a:lnTo>
                  <a:pt x="11102487" y="5904551"/>
                </a:lnTo>
                <a:lnTo>
                  <a:pt x="11110241" y="5904551"/>
                </a:lnTo>
                <a:lnTo>
                  <a:pt x="11110241" y="5850449"/>
                </a:lnTo>
                <a:cubicBezTo>
                  <a:pt x="11110375" y="5845987"/>
                  <a:pt x="11109988" y="5841383"/>
                  <a:pt x="11109079" y="5836636"/>
                </a:cubicBezTo>
                <a:cubicBezTo>
                  <a:pt x="11108170" y="5831889"/>
                  <a:pt x="11105932" y="5827862"/>
                  <a:pt x="11102366" y="5824555"/>
                </a:cubicBezTo>
                <a:cubicBezTo>
                  <a:pt x="11098799" y="5821247"/>
                  <a:pt x="11093097" y="5819522"/>
                  <a:pt x="11085259" y="5819378"/>
                </a:cubicBezTo>
                <a:cubicBezTo>
                  <a:pt x="11078595" y="5819600"/>
                  <a:pt x="11072751" y="5821019"/>
                  <a:pt x="11067726" y="5823636"/>
                </a:cubicBezTo>
                <a:cubicBezTo>
                  <a:pt x="11062701" y="5826253"/>
                  <a:pt x="11058686" y="5828739"/>
                  <a:pt x="11055682" y="5831094"/>
                </a:cubicBezTo>
                <a:lnTo>
                  <a:pt x="11055682" y="5789660"/>
                </a:lnTo>
                <a:close/>
                <a:moveTo>
                  <a:pt x="10552019" y="5789660"/>
                </a:moveTo>
                <a:lnTo>
                  <a:pt x="10552019" y="5904551"/>
                </a:lnTo>
                <a:lnTo>
                  <a:pt x="10560381" y="5904551"/>
                </a:lnTo>
                <a:lnTo>
                  <a:pt x="10560381" y="5838714"/>
                </a:lnTo>
                <a:cubicBezTo>
                  <a:pt x="10561641" y="5837849"/>
                  <a:pt x="10563815" y="5836497"/>
                  <a:pt x="10566903" y="5834656"/>
                </a:cubicBezTo>
                <a:cubicBezTo>
                  <a:pt x="10569992" y="5832815"/>
                  <a:pt x="10573454" y="5831101"/>
                  <a:pt x="10577288" y="5829513"/>
                </a:cubicBezTo>
                <a:cubicBezTo>
                  <a:pt x="10581122" y="5827926"/>
                  <a:pt x="10584787" y="5827082"/>
                  <a:pt x="10588282" y="5826979"/>
                </a:cubicBezTo>
                <a:cubicBezTo>
                  <a:pt x="10593891" y="5827017"/>
                  <a:pt x="10598055" y="5828127"/>
                  <a:pt x="10600773" y="5830309"/>
                </a:cubicBezTo>
                <a:cubicBezTo>
                  <a:pt x="10603491" y="5832492"/>
                  <a:pt x="10605260" y="5835521"/>
                  <a:pt x="10606081" y="5839397"/>
                </a:cubicBezTo>
                <a:cubicBezTo>
                  <a:pt x="10606901" y="5843273"/>
                  <a:pt x="10607270" y="5847769"/>
                  <a:pt x="10607187" y="5852887"/>
                </a:cubicBezTo>
                <a:lnTo>
                  <a:pt x="10607187" y="5904551"/>
                </a:lnTo>
                <a:lnTo>
                  <a:pt x="10614941" y="5904551"/>
                </a:lnTo>
                <a:lnTo>
                  <a:pt x="10614941" y="5850449"/>
                </a:lnTo>
                <a:cubicBezTo>
                  <a:pt x="10615075" y="5845987"/>
                  <a:pt x="10614688" y="5841383"/>
                  <a:pt x="10613779" y="5836636"/>
                </a:cubicBezTo>
                <a:cubicBezTo>
                  <a:pt x="10612870" y="5831889"/>
                  <a:pt x="10610632" y="5827862"/>
                  <a:pt x="10607066" y="5824555"/>
                </a:cubicBezTo>
                <a:cubicBezTo>
                  <a:pt x="10603499" y="5821247"/>
                  <a:pt x="10597797" y="5819522"/>
                  <a:pt x="10589959" y="5819378"/>
                </a:cubicBezTo>
                <a:cubicBezTo>
                  <a:pt x="10583295" y="5819600"/>
                  <a:pt x="10577451" y="5821019"/>
                  <a:pt x="10572426" y="5823636"/>
                </a:cubicBezTo>
                <a:cubicBezTo>
                  <a:pt x="10567401" y="5826253"/>
                  <a:pt x="10563386" y="5828739"/>
                  <a:pt x="10560381" y="5831094"/>
                </a:cubicBezTo>
                <a:lnTo>
                  <a:pt x="10560381" y="5789660"/>
                </a:lnTo>
                <a:close/>
                <a:moveTo>
                  <a:pt x="9992253" y="5789660"/>
                </a:moveTo>
                <a:lnTo>
                  <a:pt x="9992253" y="5821658"/>
                </a:lnTo>
                <a:cubicBezTo>
                  <a:pt x="9989102" y="5820625"/>
                  <a:pt x="9986333" y="5819954"/>
                  <a:pt x="9983944" y="5819644"/>
                </a:cubicBezTo>
                <a:cubicBezTo>
                  <a:pt x="9981555" y="5819333"/>
                  <a:pt x="9978328" y="5819194"/>
                  <a:pt x="9974263" y="5819226"/>
                </a:cubicBezTo>
                <a:cubicBezTo>
                  <a:pt x="9967315" y="5819233"/>
                  <a:pt x="9960987" y="5820910"/>
                  <a:pt x="9955279" y="5824256"/>
                </a:cubicBezTo>
                <a:cubicBezTo>
                  <a:pt x="9949571" y="5827602"/>
                  <a:pt x="9945006" y="5832573"/>
                  <a:pt x="9941585" y="5839170"/>
                </a:cubicBezTo>
                <a:cubicBezTo>
                  <a:pt x="9938164" y="5845768"/>
                  <a:pt x="9936410" y="5853947"/>
                  <a:pt x="9936323" y="5863708"/>
                </a:cubicBezTo>
                <a:cubicBezTo>
                  <a:pt x="9936473" y="5875894"/>
                  <a:pt x="9938338" y="5885043"/>
                  <a:pt x="9941918" y="5891157"/>
                </a:cubicBezTo>
                <a:cubicBezTo>
                  <a:pt x="9945498" y="5897271"/>
                  <a:pt x="9949892" y="5901326"/>
                  <a:pt x="9955098" y="5903323"/>
                </a:cubicBezTo>
                <a:cubicBezTo>
                  <a:pt x="9960304" y="5905321"/>
                  <a:pt x="9965422" y="5906238"/>
                  <a:pt x="9970451" y="5906075"/>
                </a:cubicBezTo>
                <a:cubicBezTo>
                  <a:pt x="9974847" y="5905961"/>
                  <a:pt x="9978938" y="5904897"/>
                  <a:pt x="9982724" y="5902882"/>
                </a:cubicBezTo>
                <a:cubicBezTo>
                  <a:pt x="9986510" y="5900867"/>
                  <a:pt x="9989687" y="5898584"/>
                  <a:pt x="9992253" y="5896035"/>
                </a:cubicBezTo>
                <a:lnTo>
                  <a:pt x="9992253" y="5904551"/>
                </a:lnTo>
                <a:lnTo>
                  <a:pt x="10000616" y="5904551"/>
                </a:lnTo>
                <a:lnTo>
                  <a:pt x="10000616" y="5789660"/>
                </a:lnTo>
                <a:close/>
                <a:moveTo>
                  <a:pt x="9896773" y="5788441"/>
                </a:moveTo>
                <a:lnTo>
                  <a:pt x="9889760" y="5795451"/>
                </a:lnTo>
                <a:lnTo>
                  <a:pt x="9896773" y="5802614"/>
                </a:lnTo>
                <a:lnTo>
                  <a:pt x="9903929" y="5795451"/>
                </a:lnTo>
                <a:close/>
                <a:moveTo>
                  <a:pt x="9865670" y="5788441"/>
                </a:moveTo>
                <a:lnTo>
                  <a:pt x="9858657" y="5795451"/>
                </a:lnTo>
                <a:lnTo>
                  <a:pt x="9865670" y="5802614"/>
                </a:lnTo>
                <a:lnTo>
                  <a:pt x="9872683" y="5795451"/>
                </a:lnTo>
                <a:close/>
                <a:moveTo>
                  <a:pt x="10374997" y="5787222"/>
                </a:moveTo>
                <a:lnTo>
                  <a:pt x="10366929" y="5795488"/>
                </a:lnTo>
                <a:lnTo>
                  <a:pt x="10374997" y="5803907"/>
                </a:lnTo>
                <a:lnTo>
                  <a:pt x="10383369" y="5795488"/>
                </a:lnTo>
                <a:close/>
                <a:moveTo>
                  <a:pt x="9624608" y="5504360"/>
                </a:moveTo>
                <a:lnTo>
                  <a:pt x="9624608" y="5635965"/>
                </a:lnTo>
                <a:lnTo>
                  <a:pt x="9483346" y="5635965"/>
                </a:lnTo>
                <a:lnTo>
                  <a:pt x="9483346" y="5661874"/>
                </a:lnTo>
                <a:lnTo>
                  <a:pt x="9624608" y="5661874"/>
                </a:lnTo>
                <a:lnTo>
                  <a:pt x="9624608" y="5795489"/>
                </a:lnTo>
                <a:lnTo>
                  <a:pt x="9654754" y="5795489"/>
                </a:lnTo>
                <a:lnTo>
                  <a:pt x="9654754" y="5504360"/>
                </a:lnTo>
                <a:close/>
                <a:moveTo>
                  <a:pt x="9415198" y="5504360"/>
                </a:moveTo>
                <a:lnTo>
                  <a:pt x="9415198" y="5795489"/>
                </a:lnTo>
                <a:lnTo>
                  <a:pt x="9445344" y="5795489"/>
                </a:lnTo>
                <a:lnTo>
                  <a:pt x="9445344" y="5504360"/>
                </a:lnTo>
                <a:close/>
                <a:moveTo>
                  <a:pt x="9149278" y="5504360"/>
                </a:moveTo>
                <a:lnTo>
                  <a:pt x="9149278" y="5795489"/>
                </a:lnTo>
                <a:lnTo>
                  <a:pt x="9179781" y="5795489"/>
                </a:lnTo>
                <a:lnTo>
                  <a:pt x="9179781" y="5530533"/>
                </a:lnTo>
                <a:lnTo>
                  <a:pt x="9244197" y="5530533"/>
                </a:lnTo>
                <a:lnTo>
                  <a:pt x="9254604" y="5531071"/>
                </a:lnTo>
                <a:lnTo>
                  <a:pt x="9263934" y="5532326"/>
                </a:lnTo>
                <a:lnTo>
                  <a:pt x="9272726" y="5534298"/>
                </a:lnTo>
                <a:lnTo>
                  <a:pt x="9280621" y="5537166"/>
                </a:lnTo>
                <a:lnTo>
                  <a:pt x="9287439" y="5540931"/>
                </a:lnTo>
                <a:lnTo>
                  <a:pt x="9293719" y="5545592"/>
                </a:lnTo>
                <a:lnTo>
                  <a:pt x="9298923" y="5550970"/>
                </a:lnTo>
                <a:lnTo>
                  <a:pt x="9303409" y="5557244"/>
                </a:lnTo>
                <a:lnTo>
                  <a:pt x="9306997" y="5564415"/>
                </a:lnTo>
                <a:lnTo>
                  <a:pt x="9309689" y="5572302"/>
                </a:lnTo>
                <a:lnTo>
                  <a:pt x="9312021" y="5580907"/>
                </a:lnTo>
                <a:lnTo>
                  <a:pt x="9312918" y="5590587"/>
                </a:lnTo>
                <a:lnTo>
                  <a:pt x="9313457" y="5600806"/>
                </a:lnTo>
                <a:lnTo>
                  <a:pt x="9312918" y="5610665"/>
                </a:lnTo>
                <a:lnTo>
                  <a:pt x="9311483" y="5619629"/>
                </a:lnTo>
                <a:lnTo>
                  <a:pt x="9308971" y="5627696"/>
                </a:lnTo>
                <a:lnTo>
                  <a:pt x="9305562" y="5635225"/>
                </a:lnTo>
                <a:lnTo>
                  <a:pt x="9301614" y="5641858"/>
                </a:lnTo>
                <a:lnTo>
                  <a:pt x="9296411" y="5647774"/>
                </a:lnTo>
                <a:lnTo>
                  <a:pt x="9290669" y="5653152"/>
                </a:lnTo>
                <a:lnTo>
                  <a:pt x="9284568" y="5657633"/>
                </a:lnTo>
                <a:lnTo>
                  <a:pt x="9277391" y="5661577"/>
                </a:lnTo>
                <a:lnTo>
                  <a:pt x="9269676" y="5664625"/>
                </a:lnTo>
                <a:lnTo>
                  <a:pt x="9261601" y="5667134"/>
                </a:lnTo>
                <a:lnTo>
                  <a:pt x="9253168" y="5668748"/>
                </a:lnTo>
                <a:lnTo>
                  <a:pt x="9244017" y="5669823"/>
                </a:lnTo>
                <a:lnTo>
                  <a:pt x="9234507" y="5670361"/>
                </a:lnTo>
                <a:lnTo>
                  <a:pt x="9224998" y="5670361"/>
                </a:lnTo>
                <a:lnTo>
                  <a:pt x="9224998" y="5697430"/>
                </a:lnTo>
                <a:lnTo>
                  <a:pt x="9231816" y="5697430"/>
                </a:lnTo>
                <a:lnTo>
                  <a:pt x="9245453" y="5697072"/>
                </a:lnTo>
                <a:lnTo>
                  <a:pt x="9258013" y="5695458"/>
                </a:lnTo>
                <a:lnTo>
                  <a:pt x="9269676" y="5693307"/>
                </a:lnTo>
                <a:lnTo>
                  <a:pt x="9280621" y="5690080"/>
                </a:lnTo>
                <a:lnTo>
                  <a:pt x="9290669" y="5686137"/>
                </a:lnTo>
                <a:lnTo>
                  <a:pt x="9299641" y="5681655"/>
                </a:lnTo>
                <a:lnTo>
                  <a:pt x="9308074" y="5676277"/>
                </a:lnTo>
                <a:lnTo>
                  <a:pt x="9315430" y="5670540"/>
                </a:lnTo>
                <a:lnTo>
                  <a:pt x="9321890" y="5663908"/>
                </a:lnTo>
                <a:lnTo>
                  <a:pt x="9327632" y="5656916"/>
                </a:lnTo>
                <a:lnTo>
                  <a:pt x="9332476" y="5649566"/>
                </a:lnTo>
                <a:lnTo>
                  <a:pt x="9336783" y="5641858"/>
                </a:lnTo>
                <a:lnTo>
                  <a:pt x="9340192" y="5633611"/>
                </a:lnTo>
                <a:lnTo>
                  <a:pt x="9342704" y="5625186"/>
                </a:lnTo>
                <a:lnTo>
                  <a:pt x="9344678" y="5616581"/>
                </a:lnTo>
                <a:lnTo>
                  <a:pt x="9345575" y="5607618"/>
                </a:lnTo>
                <a:lnTo>
                  <a:pt x="9346113" y="5598834"/>
                </a:lnTo>
                <a:lnTo>
                  <a:pt x="9345395" y="5586644"/>
                </a:lnTo>
                <a:lnTo>
                  <a:pt x="9343960" y="5575350"/>
                </a:lnTo>
                <a:lnTo>
                  <a:pt x="9341089" y="5564415"/>
                </a:lnTo>
                <a:lnTo>
                  <a:pt x="9337680" y="5554555"/>
                </a:lnTo>
                <a:lnTo>
                  <a:pt x="9333015" y="5545412"/>
                </a:lnTo>
                <a:lnTo>
                  <a:pt x="9327632" y="5537166"/>
                </a:lnTo>
                <a:lnTo>
                  <a:pt x="9321172" y="5529816"/>
                </a:lnTo>
                <a:lnTo>
                  <a:pt x="9313995" y="5523004"/>
                </a:lnTo>
                <a:lnTo>
                  <a:pt x="9305741" y="5517626"/>
                </a:lnTo>
                <a:lnTo>
                  <a:pt x="9296949" y="5512965"/>
                </a:lnTo>
                <a:lnTo>
                  <a:pt x="9287080" y="5509200"/>
                </a:lnTo>
                <a:lnTo>
                  <a:pt x="9276315" y="5506511"/>
                </a:lnTo>
                <a:lnTo>
                  <a:pt x="9265190" y="5504719"/>
                </a:lnTo>
                <a:lnTo>
                  <a:pt x="9253168" y="5504360"/>
                </a:lnTo>
                <a:close/>
                <a:moveTo>
                  <a:pt x="9848777" y="5437672"/>
                </a:moveTo>
                <a:lnTo>
                  <a:pt x="9835332" y="5438389"/>
                </a:lnTo>
                <a:lnTo>
                  <a:pt x="9822604" y="5440720"/>
                </a:lnTo>
                <a:lnTo>
                  <a:pt x="9810235" y="5444484"/>
                </a:lnTo>
                <a:lnTo>
                  <a:pt x="9798224" y="5449325"/>
                </a:lnTo>
                <a:lnTo>
                  <a:pt x="9787468" y="5455599"/>
                </a:lnTo>
                <a:lnTo>
                  <a:pt x="9777070" y="5462949"/>
                </a:lnTo>
                <a:lnTo>
                  <a:pt x="9767928" y="5471374"/>
                </a:lnTo>
                <a:lnTo>
                  <a:pt x="9759502" y="5480696"/>
                </a:lnTo>
                <a:lnTo>
                  <a:pt x="9752152" y="5490914"/>
                </a:lnTo>
                <a:lnTo>
                  <a:pt x="9745878" y="5502029"/>
                </a:lnTo>
                <a:lnTo>
                  <a:pt x="9741038" y="5513681"/>
                </a:lnTo>
                <a:lnTo>
                  <a:pt x="9737273" y="5526051"/>
                </a:lnTo>
                <a:lnTo>
                  <a:pt x="9735122" y="5538958"/>
                </a:lnTo>
                <a:lnTo>
                  <a:pt x="9734405" y="5552224"/>
                </a:lnTo>
                <a:lnTo>
                  <a:pt x="9735122" y="5565669"/>
                </a:lnTo>
                <a:lnTo>
                  <a:pt x="9737273" y="5578576"/>
                </a:lnTo>
                <a:lnTo>
                  <a:pt x="9741038" y="5590945"/>
                </a:lnTo>
                <a:lnTo>
                  <a:pt x="9745878" y="5602777"/>
                </a:lnTo>
                <a:lnTo>
                  <a:pt x="9752152" y="5613712"/>
                </a:lnTo>
                <a:lnTo>
                  <a:pt x="9759502" y="5624110"/>
                </a:lnTo>
                <a:lnTo>
                  <a:pt x="9767928" y="5633252"/>
                </a:lnTo>
                <a:lnTo>
                  <a:pt x="9777070" y="5641678"/>
                </a:lnTo>
                <a:lnTo>
                  <a:pt x="9787468" y="5649028"/>
                </a:lnTo>
                <a:lnTo>
                  <a:pt x="9798224" y="5655123"/>
                </a:lnTo>
                <a:lnTo>
                  <a:pt x="9810235" y="5660142"/>
                </a:lnTo>
                <a:lnTo>
                  <a:pt x="9822604" y="5663907"/>
                </a:lnTo>
                <a:lnTo>
                  <a:pt x="9835332" y="5666058"/>
                </a:lnTo>
                <a:lnTo>
                  <a:pt x="9848777" y="5666775"/>
                </a:lnTo>
                <a:lnTo>
                  <a:pt x="9862043" y="5666058"/>
                </a:lnTo>
                <a:lnTo>
                  <a:pt x="9874950" y="5663907"/>
                </a:lnTo>
                <a:lnTo>
                  <a:pt x="9887319" y="5660142"/>
                </a:lnTo>
                <a:lnTo>
                  <a:pt x="9898792" y="5655123"/>
                </a:lnTo>
                <a:lnTo>
                  <a:pt x="9909907" y="5649028"/>
                </a:lnTo>
                <a:lnTo>
                  <a:pt x="9920125" y="5641678"/>
                </a:lnTo>
                <a:lnTo>
                  <a:pt x="9929447" y="5633252"/>
                </a:lnTo>
                <a:lnTo>
                  <a:pt x="9937872" y="5624110"/>
                </a:lnTo>
                <a:lnTo>
                  <a:pt x="9945402" y="5613712"/>
                </a:lnTo>
                <a:lnTo>
                  <a:pt x="9951497" y="5602777"/>
                </a:lnTo>
                <a:lnTo>
                  <a:pt x="9956516" y="5590945"/>
                </a:lnTo>
                <a:lnTo>
                  <a:pt x="9960101" y="5578576"/>
                </a:lnTo>
                <a:lnTo>
                  <a:pt x="9962432" y="5565669"/>
                </a:lnTo>
                <a:lnTo>
                  <a:pt x="9963149" y="5552224"/>
                </a:lnTo>
                <a:lnTo>
                  <a:pt x="9962432" y="5538958"/>
                </a:lnTo>
                <a:lnTo>
                  <a:pt x="9960101" y="5526051"/>
                </a:lnTo>
                <a:lnTo>
                  <a:pt x="9956516" y="5513681"/>
                </a:lnTo>
                <a:lnTo>
                  <a:pt x="9951497" y="5502029"/>
                </a:lnTo>
                <a:lnTo>
                  <a:pt x="9945402" y="5490914"/>
                </a:lnTo>
                <a:lnTo>
                  <a:pt x="9937872" y="5480696"/>
                </a:lnTo>
                <a:lnTo>
                  <a:pt x="9929447" y="5471374"/>
                </a:lnTo>
                <a:lnTo>
                  <a:pt x="9920125" y="5462949"/>
                </a:lnTo>
                <a:lnTo>
                  <a:pt x="9909907" y="5455599"/>
                </a:lnTo>
                <a:lnTo>
                  <a:pt x="9898792" y="5449325"/>
                </a:lnTo>
                <a:lnTo>
                  <a:pt x="9887319" y="5444484"/>
                </a:lnTo>
                <a:lnTo>
                  <a:pt x="9874950" y="5440720"/>
                </a:lnTo>
                <a:lnTo>
                  <a:pt x="9862043" y="5438389"/>
                </a:lnTo>
                <a:close/>
                <a:moveTo>
                  <a:pt x="0" y="4578364"/>
                </a:moveTo>
                <a:lnTo>
                  <a:pt x="360983" y="4763248"/>
                </a:lnTo>
                <a:cubicBezTo>
                  <a:pt x="1517290" y="5320414"/>
                  <a:pt x="2813829" y="5632649"/>
                  <a:pt x="4183294" y="5632649"/>
                </a:cubicBezTo>
                <a:cubicBezTo>
                  <a:pt x="4335456" y="5632649"/>
                  <a:pt x="4486719" y="5628795"/>
                  <a:pt x="4636989" y="5621177"/>
                </a:cubicBezTo>
                <a:lnTo>
                  <a:pt x="5073960" y="5587950"/>
                </a:lnTo>
                <a:lnTo>
                  <a:pt x="4988781" y="5671617"/>
                </a:lnTo>
                <a:cubicBezTo>
                  <a:pt x="4663600" y="6012689"/>
                  <a:pt x="4382961" y="6396608"/>
                  <a:pt x="4156197" y="6814040"/>
                </a:cubicBezTo>
                <a:lnTo>
                  <a:pt x="4133683" y="6857999"/>
                </a:lnTo>
                <a:lnTo>
                  <a:pt x="0" y="6857999"/>
                </a:lnTo>
                <a:close/>
                <a:moveTo>
                  <a:pt x="9237266" y="4038333"/>
                </a:moveTo>
                <a:lnTo>
                  <a:pt x="9311074" y="4042892"/>
                </a:lnTo>
                <a:cubicBezTo>
                  <a:pt x="10338083" y="4127567"/>
                  <a:pt x="11282737" y="4502723"/>
                  <a:pt x="12062688" y="5086013"/>
                </a:cubicBezTo>
                <a:lnTo>
                  <a:pt x="12188824" y="5185136"/>
                </a:lnTo>
                <a:lnTo>
                  <a:pt x="12188824" y="6857999"/>
                </a:lnTo>
                <a:lnTo>
                  <a:pt x="4149209" y="6857999"/>
                </a:lnTo>
                <a:lnTo>
                  <a:pt x="4168349" y="6820627"/>
                </a:lnTo>
                <a:cubicBezTo>
                  <a:pt x="4394527" y="6404272"/>
                  <a:pt x="4674442" y="6021344"/>
                  <a:pt x="4998786" y="5681152"/>
                </a:cubicBezTo>
                <a:lnTo>
                  <a:pt x="5095955" y="5585704"/>
                </a:lnTo>
                <a:lnTo>
                  <a:pt x="5525957" y="5531064"/>
                </a:lnTo>
                <a:cubicBezTo>
                  <a:pt x="6839327" y="5330385"/>
                  <a:pt x="8057334" y="4839906"/>
                  <a:pt x="9112674" y="4126932"/>
                </a:cubicBezTo>
                <a:close/>
                <a:moveTo>
                  <a:pt x="8866125" y="4024627"/>
                </a:moveTo>
                <a:cubicBezTo>
                  <a:pt x="8941044" y="4024627"/>
                  <a:pt x="9015602" y="4026169"/>
                  <a:pt x="9089770" y="4029223"/>
                </a:cubicBezTo>
                <a:lnTo>
                  <a:pt x="9214594" y="4036933"/>
                </a:lnTo>
                <a:lnTo>
                  <a:pt x="9104688" y="4115089"/>
                </a:lnTo>
                <a:cubicBezTo>
                  <a:pt x="8051058" y="4826908"/>
                  <a:pt x="6835023" y="5316592"/>
                  <a:pt x="5523782" y="5516946"/>
                </a:cubicBezTo>
                <a:lnTo>
                  <a:pt x="5112786" y="5569171"/>
                </a:lnTo>
                <a:lnTo>
                  <a:pt x="5250228" y="5434167"/>
                </a:lnTo>
                <a:cubicBezTo>
                  <a:pt x="6201662" y="4559002"/>
                  <a:pt x="7471489" y="4024627"/>
                  <a:pt x="8866125" y="4024627"/>
                </a:cubicBezTo>
                <a:close/>
                <a:moveTo>
                  <a:pt x="12188824" y="509196"/>
                </a:moveTo>
                <a:lnTo>
                  <a:pt x="12188824" y="5167564"/>
                </a:lnTo>
                <a:lnTo>
                  <a:pt x="12070957" y="5074939"/>
                </a:lnTo>
                <a:cubicBezTo>
                  <a:pt x="11288987" y="4490139"/>
                  <a:pt x="10341891" y="4114013"/>
                  <a:pt x="9312225" y="4029119"/>
                </a:cubicBezTo>
                <a:lnTo>
                  <a:pt x="9255178" y="4025595"/>
                </a:lnTo>
                <a:lnTo>
                  <a:pt x="9458337" y="3881126"/>
                </a:lnTo>
                <a:cubicBezTo>
                  <a:pt x="10589849" y="3034920"/>
                  <a:pt x="11511305" y="1923261"/>
                  <a:pt x="12130378" y="638476"/>
                </a:cubicBezTo>
                <a:close/>
                <a:moveTo>
                  <a:pt x="0" y="0"/>
                </a:moveTo>
                <a:lnTo>
                  <a:pt x="12188824" y="0"/>
                </a:lnTo>
                <a:lnTo>
                  <a:pt x="12188824" y="474524"/>
                </a:lnTo>
                <a:lnTo>
                  <a:pt x="12117502" y="632284"/>
                </a:lnTo>
                <a:cubicBezTo>
                  <a:pt x="11499432" y="1914988"/>
                  <a:pt x="10579470" y="3024846"/>
                  <a:pt x="9449791" y="3869681"/>
                </a:cubicBezTo>
                <a:lnTo>
                  <a:pt x="9232507" y="4024195"/>
                </a:lnTo>
                <a:lnTo>
                  <a:pt x="9090349" y="4015415"/>
                </a:lnTo>
                <a:cubicBezTo>
                  <a:pt x="9015989" y="4012353"/>
                  <a:pt x="8941237" y="4010807"/>
                  <a:pt x="8866125" y="4010807"/>
                </a:cubicBezTo>
                <a:cubicBezTo>
                  <a:pt x="7467881" y="4010807"/>
                  <a:pt x="6194769" y="4546564"/>
                  <a:pt x="5240874" y="5423993"/>
                </a:cubicBezTo>
                <a:lnTo>
                  <a:pt x="5090148" y="5572048"/>
                </a:lnTo>
                <a:lnTo>
                  <a:pt x="5083268" y="5572922"/>
                </a:lnTo>
                <a:cubicBezTo>
                  <a:pt x="4787363" y="5602973"/>
                  <a:pt x="4487127" y="5618367"/>
                  <a:pt x="4183294" y="5618367"/>
                </a:cubicBezTo>
                <a:cubicBezTo>
                  <a:pt x="2816047" y="5618367"/>
                  <a:pt x="1521609" y="5306637"/>
                  <a:pt x="367175" y="4750374"/>
                </a:cubicBezTo>
                <a:lnTo>
                  <a:pt x="0" y="4562318"/>
                </a:lnTo>
                <a:close/>
              </a:path>
            </a:pathLst>
          </a:custGeom>
          <a:solidFill>
            <a:schemeClr val="accent1"/>
          </a:solidFill>
        </p:spPr>
        <p:txBody>
          <a:bodyPr wrap="square">
            <a:noAutofit/>
          </a:bodyPr>
          <a:lstStyle/>
          <a:p>
            <a:r>
              <a:rPr lang="de-DE"/>
              <a:t>Bild auf Platzhalter ziehen oder durch Klicken auf Symbol hinzufügen</a:t>
            </a:r>
            <a:endParaRPr lang="de-DE" dirty="0"/>
          </a:p>
        </p:txBody>
      </p:sp>
      <p:sp>
        <p:nvSpPr>
          <p:cNvPr id="32" name="Titel 31"/>
          <p:cNvSpPr>
            <a:spLocks noGrp="1"/>
          </p:cNvSpPr>
          <p:nvPr>
            <p:ph type="ctrTitle" hasCustomPrompt="1"/>
          </p:nvPr>
        </p:nvSpPr>
        <p:spPr>
          <a:xfrm>
            <a:off x="566465" y="673375"/>
            <a:ext cx="9973108" cy="1692188"/>
          </a:xfrm>
          <a:prstGeom prst="rect">
            <a:avLst/>
          </a:prstGeom>
          <a:noFill/>
        </p:spPr>
        <p:txBody>
          <a:bodyPr wrap="square" lIns="0" rIns="0" bIns="0" anchor="b" anchorCtr="0">
            <a:noAutofit/>
          </a:bodyPr>
          <a:lstStyle>
            <a:lvl1pPr algn="l">
              <a:defRPr sz="40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3" y="2371936"/>
            <a:ext cx="8065417" cy="10081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17" name="Freeform 9"/>
          <p:cNvSpPr>
            <a:spLocks/>
          </p:cNvSpPr>
          <p:nvPr userDrawn="1"/>
        </p:nvSpPr>
        <p:spPr bwMode="auto">
          <a:xfrm>
            <a:off x="9771694" y="5507587"/>
            <a:ext cx="64895" cy="8927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0"/>
          <p:cNvSpPr>
            <a:spLocks/>
          </p:cNvSpPr>
          <p:nvPr userDrawn="1"/>
        </p:nvSpPr>
        <p:spPr bwMode="auto">
          <a:xfrm>
            <a:off x="9849853" y="5507587"/>
            <a:ext cx="75650" cy="8927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3870706263"/>
      </p:ext>
    </p:extLst>
  </p:cSld>
  <p:clrMapOvr>
    <a:masterClrMapping/>
  </p:clrMapOvr>
  <p:extLst>
    <p:ext uri="{DCECCB84-F9BA-43D5-87BE-67443E8EF086}">
      <p15:sldGuideLst xmlns:p15="http://schemas.microsoft.com/office/powerpoint/2012/main">
        <p15:guide id="1" pos="7333">
          <p15:clr>
            <a:srgbClr val="FBAE40"/>
          </p15:clr>
        </p15:guide>
        <p15:guide id="2" pos="34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Inhalt+Bild_link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Folie" r:id="rId4" imgW="344" imgH="344" progId="TCLayout.ActiveDocument.1">
                  <p:embed/>
                </p:oleObj>
              </mc:Choice>
              <mc:Fallback>
                <p:oleObj name="think-cell Folie" r:id="rId4" imgW="344" imgH="344"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Bildplatzhalter 7"/>
          <p:cNvSpPr>
            <a:spLocks noGrp="1"/>
          </p:cNvSpPr>
          <p:nvPr>
            <p:ph type="pic" sz="quarter" idx="13"/>
          </p:nvPr>
        </p:nvSpPr>
        <p:spPr>
          <a:xfrm>
            <a:off x="0" y="0"/>
            <a:ext cx="6096000" cy="6858000"/>
          </a:xfrm>
          <a:solidFill>
            <a:schemeClr val="accent1"/>
          </a:solidFill>
        </p:spPr>
        <p:txBody>
          <a:bodyPr/>
          <a:lstStyle/>
          <a:p>
            <a:r>
              <a:rPr lang="de-DE"/>
              <a:t>Bild auf Platzhalter ziehen oder durch Klicken auf Symbol hinzufügen</a:t>
            </a:r>
          </a:p>
        </p:txBody>
      </p:sp>
      <p:sp>
        <p:nvSpPr>
          <p:cNvPr id="3" name="Inhaltsplatzhalter 2"/>
          <p:cNvSpPr>
            <a:spLocks noGrp="1"/>
          </p:cNvSpPr>
          <p:nvPr>
            <p:ph idx="1"/>
          </p:nvPr>
        </p:nvSpPr>
        <p:spPr>
          <a:xfrm>
            <a:off x="6312024" y="1989137"/>
            <a:ext cx="5329113" cy="41402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itel 6"/>
          <p:cNvSpPr>
            <a:spLocks noGrp="1"/>
          </p:cNvSpPr>
          <p:nvPr>
            <p:ph type="title"/>
          </p:nvPr>
        </p:nvSpPr>
        <p:spPr>
          <a:xfrm>
            <a:off x="6312024" y="549276"/>
            <a:ext cx="3636404" cy="827088"/>
          </a:xfrm>
        </p:spPr>
        <p:txBody>
          <a:bodyPr/>
          <a:lstStyle/>
          <a:p>
            <a:r>
              <a:rPr lang="de-DE"/>
              <a:t>Mastertitelformat bearbeiten</a:t>
            </a:r>
            <a:endParaRPr lang="de-DE" dirty="0"/>
          </a:p>
        </p:txBody>
      </p:sp>
    </p:spTree>
    <p:extLst>
      <p:ext uri="{BB962C8B-B14F-4D97-AF65-F5344CB8AC3E}">
        <p14:creationId xmlns:p14="http://schemas.microsoft.com/office/powerpoint/2010/main" val="2274117051"/>
      </p:ext>
    </p:extLst>
  </p:cSld>
  <p:clrMapOvr>
    <a:masterClrMapping/>
  </p:clrMapOvr>
  <p:extLst>
    <p:ext uri="{DCECCB84-F9BA-43D5-87BE-67443E8EF086}">
      <p15:sldGuideLst xmlns:p15="http://schemas.microsoft.com/office/powerpoint/2012/main">
        <p15:guide id="1" pos="3840">
          <p15:clr>
            <a:srgbClr val="FBAE40"/>
          </p15:clr>
        </p15:guide>
        <p15:guide id="2" pos="7333">
          <p15:clr>
            <a:srgbClr val="FBAE40"/>
          </p15:clr>
        </p15:guide>
        <p15:guide id="3" orient="horz" pos="1253">
          <p15:clr>
            <a:srgbClr val="FBAE40"/>
          </p15:clr>
        </p15:guide>
        <p15:guide id="4" orient="horz" pos="2568">
          <p15:clr>
            <a:srgbClr val="FBAE40"/>
          </p15:clr>
        </p15:guide>
        <p15:guide id="5" orient="horz" pos="3861">
          <p15:clr>
            <a:srgbClr val="FBAE40"/>
          </p15:clr>
        </p15:guide>
        <p15:guide id="8" pos="3976">
          <p15:clr>
            <a:srgbClr val="FBAE40"/>
          </p15:clr>
        </p15:guide>
        <p15:guide id="9" pos="3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el und Inhalt+Bild_recht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Folie" r:id="rId4" imgW="344" imgH="344" progId="TCLayout.ActiveDocument.1">
                  <p:embed/>
                </p:oleObj>
              </mc:Choice>
              <mc:Fallback>
                <p:oleObj name="think-cell Folie" r:id="rId4" imgW="344" imgH="344"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Bildplatzhalter 33"/>
          <p:cNvSpPr>
            <a:spLocks noGrp="1"/>
          </p:cNvSpPr>
          <p:nvPr>
            <p:ph type="pic" sz="quarter" idx="13"/>
          </p:nvPr>
        </p:nvSpPr>
        <p:spPr>
          <a:xfrm>
            <a:off x="6096000" y="2"/>
            <a:ext cx="6096000" cy="6857999"/>
          </a:xfrm>
          <a:custGeom>
            <a:avLst/>
            <a:gdLst>
              <a:gd name="connsiteX0" fmla="*/ 4782864 w 6096000"/>
              <a:gd name="connsiteY0" fmla="*/ 611650 h 6857999"/>
              <a:gd name="connsiteX1" fmla="*/ 4782864 w 6096000"/>
              <a:gd name="connsiteY1" fmla="*/ 883953 h 6857999"/>
              <a:gd name="connsiteX2" fmla="*/ 4811395 w 6096000"/>
              <a:gd name="connsiteY2" fmla="*/ 883953 h 6857999"/>
              <a:gd name="connsiteX3" fmla="*/ 4811395 w 6096000"/>
              <a:gd name="connsiteY3" fmla="*/ 636131 h 6857999"/>
              <a:gd name="connsiteX4" fmla="*/ 4871644 w 6096000"/>
              <a:gd name="connsiteY4" fmla="*/ 636131 h 6857999"/>
              <a:gd name="connsiteX5" fmla="*/ 4881378 w 6096000"/>
              <a:gd name="connsiteY5" fmla="*/ 636634 h 6857999"/>
              <a:gd name="connsiteX6" fmla="*/ 4890105 w 6096000"/>
              <a:gd name="connsiteY6" fmla="*/ 637808 h 6857999"/>
              <a:gd name="connsiteX7" fmla="*/ 4898329 w 6096000"/>
              <a:gd name="connsiteY7" fmla="*/ 639652 h 6857999"/>
              <a:gd name="connsiteX8" fmla="*/ 4905713 w 6096000"/>
              <a:gd name="connsiteY8" fmla="*/ 642335 h 6857999"/>
              <a:gd name="connsiteX9" fmla="*/ 4912091 w 6096000"/>
              <a:gd name="connsiteY9" fmla="*/ 645856 h 6857999"/>
              <a:gd name="connsiteX10" fmla="*/ 4917965 w 6096000"/>
              <a:gd name="connsiteY10" fmla="*/ 650215 h 6857999"/>
              <a:gd name="connsiteX11" fmla="*/ 4922832 w 6096000"/>
              <a:gd name="connsiteY11" fmla="*/ 655246 h 6857999"/>
              <a:gd name="connsiteX12" fmla="*/ 4927027 w 6096000"/>
              <a:gd name="connsiteY12" fmla="*/ 661114 h 6857999"/>
              <a:gd name="connsiteX13" fmla="*/ 4930384 w 6096000"/>
              <a:gd name="connsiteY13" fmla="*/ 667821 h 6857999"/>
              <a:gd name="connsiteX14" fmla="*/ 4932901 w 6096000"/>
              <a:gd name="connsiteY14" fmla="*/ 675199 h 6857999"/>
              <a:gd name="connsiteX15" fmla="*/ 4935083 w 6096000"/>
              <a:gd name="connsiteY15" fmla="*/ 683247 h 6857999"/>
              <a:gd name="connsiteX16" fmla="*/ 4935922 w 6096000"/>
              <a:gd name="connsiteY16" fmla="*/ 692302 h 6857999"/>
              <a:gd name="connsiteX17" fmla="*/ 4936426 w 6096000"/>
              <a:gd name="connsiteY17" fmla="*/ 701859 h 6857999"/>
              <a:gd name="connsiteX18" fmla="*/ 4935922 w 6096000"/>
              <a:gd name="connsiteY18" fmla="*/ 711081 h 6857999"/>
              <a:gd name="connsiteX19" fmla="*/ 4934579 w 6096000"/>
              <a:gd name="connsiteY19" fmla="*/ 719465 h 6857999"/>
              <a:gd name="connsiteX20" fmla="*/ 4932230 w 6096000"/>
              <a:gd name="connsiteY20" fmla="*/ 727010 h 6857999"/>
              <a:gd name="connsiteX21" fmla="*/ 4929041 w 6096000"/>
              <a:gd name="connsiteY21" fmla="*/ 734052 h 6857999"/>
              <a:gd name="connsiteX22" fmla="*/ 4925349 w 6096000"/>
              <a:gd name="connsiteY22" fmla="*/ 740256 h 6857999"/>
              <a:gd name="connsiteX23" fmla="*/ 4920482 w 6096000"/>
              <a:gd name="connsiteY23" fmla="*/ 745789 h 6857999"/>
              <a:gd name="connsiteX24" fmla="*/ 4915112 w 6096000"/>
              <a:gd name="connsiteY24" fmla="*/ 750820 h 6857999"/>
              <a:gd name="connsiteX25" fmla="*/ 4909405 w 6096000"/>
              <a:gd name="connsiteY25" fmla="*/ 755011 h 6857999"/>
              <a:gd name="connsiteX26" fmla="*/ 4902692 w 6096000"/>
              <a:gd name="connsiteY26" fmla="*/ 758700 h 6857999"/>
              <a:gd name="connsiteX27" fmla="*/ 4895476 w 6096000"/>
              <a:gd name="connsiteY27" fmla="*/ 761551 h 6857999"/>
              <a:gd name="connsiteX28" fmla="*/ 4887924 w 6096000"/>
              <a:gd name="connsiteY28" fmla="*/ 763898 h 6857999"/>
              <a:gd name="connsiteX29" fmla="*/ 4880036 w 6096000"/>
              <a:gd name="connsiteY29" fmla="*/ 765407 h 6857999"/>
              <a:gd name="connsiteX30" fmla="*/ 4871477 w 6096000"/>
              <a:gd name="connsiteY30" fmla="*/ 766413 h 6857999"/>
              <a:gd name="connsiteX31" fmla="*/ 4862582 w 6096000"/>
              <a:gd name="connsiteY31" fmla="*/ 766916 h 6857999"/>
              <a:gd name="connsiteX32" fmla="*/ 4853687 w 6096000"/>
              <a:gd name="connsiteY32" fmla="*/ 766916 h 6857999"/>
              <a:gd name="connsiteX33" fmla="*/ 4853687 w 6096000"/>
              <a:gd name="connsiteY33" fmla="*/ 792235 h 6857999"/>
              <a:gd name="connsiteX34" fmla="*/ 4860064 w 6096000"/>
              <a:gd name="connsiteY34" fmla="*/ 792235 h 6857999"/>
              <a:gd name="connsiteX35" fmla="*/ 4872819 w 6096000"/>
              <a:gd name="connsiteY35" fmla="*/ 791900 h 6857999"/>
              <a:gd name="connsiteX36" fmla="*/ 4884567 w 6096000"/>
              <a:gd name="connsiteY36" fmla="*/ 790391 h 6857999"/>
              <a:gd name="connsiteX37" fmla="*/ 4895476 w 6096000"/>
              <a:gd name="connsiteY37" fmla="*/ 788379 h 6857999"/>
              <a:gd name="connsiteX38" fmla="*/ 4905713 w 6096000"/>
              <a:gd name="connsiteY38" fmla="*/ 785360 h 6857999"/>
              <a:gd name="connsiteX39" fmla="*/ 4915112 w 6096000"/>
              <a:gd name="connsiteY39" fmla="*/ 781672 h 6857999"/>
              <a:gd name="connsiteX40" fmla="*/ 4923503 w 6096000"/>
              <a:gd name="connsiteY40" fmla="*/ 777480 h 6857999"/>
              <a:gd name="connsiteX41" fmla="*/ 4931391 w 6096000"/>
              <a:gd name="connsiteY41" fmla="*/ 772450 h 6857999"/>
              <a:gd name="connsiteX42" fmla="*/ 4938272 w 6096000"/>
              <a:gd name="connsiteY42" fmla="*/ 767084 h 6857999"/>
              <a:gd name="connsiteX43" fmla="*/ 4944313 w 6096000"/>
              <a:gd name="connsiteY43" fmla="*/ 760880 h 6857999"/>
              <a:gd name="connsiteX44" fmla="*/ 4949684 w 6096000"/>
              <a:gd name="connsiteY44" fmla="*/ 754341 h 6857999"/>
              <a:gd name="connsiteX45" fmla="*/ 4954215 w 6096000"/>
              <a:gd name="connsiteY45" fmla="*/ 747466 h 6857999"/>
              <a:gd name="connsiteX46" fmla="*/ 4958243 w 6096000"/>
              <a:gd name="connsiteY46" fmla="*/ 740256 h 6857999"/>
              <a:gd name="connsiteX47" fmla="*/ 4961432 w 6096000"/>
              <a:gd name="connsiteY47" fmla="*/ 732543 h 6857999"/>
              <a:gd name="connsiteX48" fmla="*/ 4963781 w 6096000"/>
              <a:gd name="connsiteY48" fmla="*/ 724663 h 6857999"/>
              <a:gd name="connsiteX49" fmla="*/ 4965627 w 6096000"/>
              <a:gd name="connsiteY49" fmla="*/ 716614 h 6857999"/>
              <a:gd name="connsiteX50" fmla="*/ 4966467 w 6096000"/>
              <a:gd name="connsiteY50" fmla="*/ 708231 h 6857999"/>
              <a:gd name="connsiteX51" fmla="*/ 4966970 w 6096000"/>
              <a:gd name="connsiteY51" fmla="*/ 700014 h 6857999"/>
              <a:gd name="connsiteX52" fmla="*/ 4966299 w 6096000"/>
              <a:gd name="connsiteY52" fmla="*/ 688613 h 6857999"/>
              <a:gd name="connsiteX53" fmla="*/ 4964956 w 6096000"/>
              <a:gd name="connsiteY53" fmla="*/ 678049 h 6857999"/>
              <a:gd name="connsiteX54" fmla="*/ 4962271 w 6096000"/>
              <a:gd name="connsiteY54" fmla="*/ 667821 h 6857999"/>
              <a:gd name="connsiteX55" fmla="*/ 4959082 w 6096000"/>
              <a:gd name="connsiteY55" fmla="*/ 658599 h 6857999"/>
              <a:gd name="connsiteX56" fmla="*/ 4954719 w 6096000"/>
              <a:gd name="connsiteY56" fmla="*/ 650048 h 6857999"/>
              <a:gd name="connsiteX57" fmla="*/ 4949684 w 6096000"/>
              <a:gd name="connsiteY57" fmla="*/ 642335 h 6857999"/>
              <a:gd name="connsiteX58" fmla="*/ 4943642 w 6096000"/>
              <a:gd name="connsiteY58" fmla="*/ 635460 h 6857999"/>
              <a:gd name="connsiteX59" fmla="*/ 4936929 w 6096000"/>
              <a:gd name="connsiteY59" fmla="*/ 629089 h 6857999"/>
              <a:gd name="connsiteX60" fmla="*/ 4929209 w 6096000"/>
              <a:gd name="connsiteY60" fmla="*/ 624058 h 6857999"/>
              <a:gd name="connsiteX61" fmla="*/ 4920985 w 6096000"/>
              <a:gd name="connsiteY61" fmla="*/ 619699 h 6857999"/>
              <a:gd name="connsiteX62" fmla="*/ 4911755 w 6096000"/>
              <a:gd name="connsiteY62" fmla="*/ 616178 h 6857999"/>
              <a:gd name="connsiteX63" fmla="*/ 4901685 w 6096000"/>
              <a:gd name="connsiteY63" fmla="*/ 613663 h 6857999"/>
              <a:gd name="connsiteX64" fmla="*/ 4891280 w 6096000"/>
              <a:gd name="connsiteY64" fmla="*/ 611986 h 6857999"/>
              <a:gd name="connsiteX65" fmla="*/ 4880036 w 6096000"/>
              <a:gd name="connsiteY65" fmla="*/ 611650 h 6857999"/>
              <a:gd name="connsiteX66" fmla="*/ 5227463 w 6096000"/>
              <a:gd name="connsiteY66" fmla="*/ 611650 h 6857999"/>
              <a:gd name="connsiteX67" fmla="*/ 5227463 w 6096000"/>
              <a:gd name="connsiteY67" fmla="*/ 734745 h 6857999"/>
              <a:gd name="connsiteX68" fmla="*/ 5095336 w 6096000"/>
              <a:gd name="connsiteY68" fmla="*/ 734745 h 6857999"/>
              <a:gd name="connsiteX69" fmla="*/ 5095336 w 6096000"/>
              <a:gd name="connsiteY69" fmla="*/ 758979 h 6857999"/>
              <a:gd name="connsiteX70" fmla="*/ 5227463 w 6096000"/>
              <a:gd name="connsiteY70" fmla="*/ 758979 h 6857999"/>
              <a:gd name="connsiteX71" fmla="*/ 5227463 w 6096000"/>
              <a:gd name="connsiteY71" fmla="*/ 883952 h 6857999"/>
              <a:gd name="connsiteX72" fmla="*/ 5255659 w 6096000"/>
              <a:gd name="connsiteY72" fmla="*/ 883952 h 6857999"/>
              <a:gd name="connsiteX73" fmla="*/ 5255659 w 6096000"/>
              <a:gd name="connsiteY73" fmla="*/ 611650 h 6857999"/>
              <a:gd name="connsiteX74" fmla="*/ 5025655 w 6096000"/>
              <a:gd name="connsiteY74" fmla="*/ 611650 h 6857999"/>
              <a:gd name="connsiteX75" fmla="*/ 5025655 w 6096000"/>
              <a:gd name="connsiteY75" fmla="*/ 883952 h 6857999"/>
              <a:gd name="connsiteX76" fmla="*/ 5053851 w 6096000"/>
              <a:gd name="connsiteY76" fmla="*/ 883952 h 6857999"/>
              <a:gd name="connsiteX77" fmla="*/ 5053851 w 6096000"/>
              <a:gd name="connsiteY77" fmla="*/ 611650 h 6857999"/>
              <a:gd name="connsiteX78" fmla="*/ 5437126 w 6096000"/>
              <a:gd name="connsiteY78" fmla="*/ 549275 h 6857999"/>
              <a:gd name="connsiteX79" fmla="*/ 5424551 w 6096000"/>
              <a:gd name="connsiteY79" fmla="*/ 549946 h 6857999"/>
              <a:gd name="connsiteX80" fmla="*/ 5412646 w 6096000"/>
              <a:gd name="connsiteY80" fmla="*/ 552126 h 6857999"/>
              <a:gd name="connsiteX81" fmla="*/ 5401077 w 6096000"/>
              <a:gd name="connsiteY81" fmla="*/ 555647 h 6857999"/>
              <a:gd name="connsiteX82" fmla="*/ 5389843 w 6096000"/>
              <a:gd name="connsiteY82" fmla="*/ 560174 h 6857999"/>
              <a:gd name="connsiteX83" fmla="*/ 5379782 w 6096000"/>
              <a:gd name="connsiteY83" fmla="*/ 566043 h 6857999"/>
              <a:gd name="connsiteX84" fmla="*/ 5370057 w 6096000"/>
              <a:gd name="connsiteY84" fmla="*/ 572917 h 6857999"/>
              <a:gd name="connsiteX85" fmla="*/ 5361506 w 6096000"/>
              <a:gd name="connsiteY85" fmla="*/ 580798 h 6857999"/>
              <a:gd name="connsiteX86" fmla="*/ 5353625 w 6096000"/>
              <a:gd name="connsiteY86" fmla="*/ 589517 h 6857999"/>
              <a:gd name="connsiteX87" fmla="*/ 5346751 w 6096000"/>
              <a:gd name="connsiteY87" fmla="*/ 599074 h 6857999"/>
              <a:gd name="connsiteX88" fmla="*/ 5340882 w 6096000"/>
              <a:gd name="connsiteY88" fmla="*/ 609470 h 6857999"/>
              <a:gd name="connsiteX89" fmla="*/ 5336355 w 6096000"/>
              <a:gd name="connsiteY89" fmla="*/ 620369 h 6857999"/>
              <a:gd name="connsiteX90" fmla="*/ 5332834 w 6096000"/>
              <a:gd name="connsiteY90" fmla="*/ 631939 h 6857999"/>
              <a:gd name="connsiteX91" fmla="*/ 5330822 w 6096000"/>
              <a:gd name="connsiteY91" fmla="*/ 644011 h 6857999"/>
              <a:gd name="connsiteX92" fmla="*/ 5330151 w 6096000"/>
              <a:gd name="connsiteY92" fmla="*/ 656419 h 6857999"/>
              <a:gd name="connsiteX93" fmla="*/ 5330822 w 6096000"/>
              <a:gd name="connsiteY93" fmla="*/ 668994 h 6857999"/>
              <a:gd name="connsiteX94" fmla="*/ 5332834 w 6096000"/>
              <a:gd name="connsiteY94" fmla="*/ 681067 h 6857999"/>
              <a:gd name="connsiteX95" fmla="*/ 5336355 w 6096000"/>
              <a:gd name="connsiteY95" fmla="*/ 692636 h 6857999"/>
              <a:gd name="connsiteX96" fmla="*/ 5340882 w 6096000"/>
              <a:gd name="connsiteY96" fmla="*/ 703703 h 6857999"/>
              <a:gd name="connsiteX97" fmla="*/ 5346751 w 6096000"/>
              <a:gd name="connsiteY97" fmla="*/ 713931 h 6857999"/>
              <a:gd name="connsiteX98" fmla="*/ 5353625 w 6096000"/>
              <a:gd name="connsiteY98" fmla="*/ 723656 h 6857999"/>
              <a:gd name="connsiteX99" fmla="*/ 5361506 w 6096000"/>
              <a:gd name="connsiteY99" fmla="*/ 732207 h 6857999"/>
              <a:gd name="connsiteX100" fmla="*/ 5370057 w 6096000"/>
              <a:gd name="connsiteY100" fmla="*/ 740088 h 6857999"/>
              <a:gd name="connsiteX101" fmla="*/ 5379782 w 6096000"/>
              <a:gd name="connsiteY101" fmla="*/ 746963 h 6857999"/>
              <a:gd name="connsiteX102" fmla="*/ 5389843 w 6096000"/>
              <a:gd name="connsiteY102" fmla="*/ 752664 h 6857999"/>
              <a:gd name="connsiteX103" fmla="*/ 5401077 w 6096000"/>
              <a:gd name="connsiteY103" fmla="*/ 757358 h 6857999"/>
              <a:gd name="connsiteX104" fmla="*/ 5412646 w 6096000"/>
              <a:gd name="connsiteY104" fmla="*/ 760880 h 6857999"/>
              <a:gd name="connsiteX105" fmla="*/ 5424551 w 6096000"/>
              <a:gd name="connsiteY105" fmla="*/ 762892 h 6857999"/>
              <a:gd name="connsiteX106" fmla="*/ 5437126 w 6096000"/>
              <a:gd name="connsiteY106" fmla="*/ 763562 h 6857999"/>
              <a:gd name="connsiteX107" fmla="*/ 5449534 w 6096000"/>
              <a:gd name="connsiteY107" fmla="*/ 762892 h 6857999"/>
              <a:gd name="connsiteX108" fmla="*/ 5461607 w 6096000"/>
              <a:gd name="connsiteY108" fmla="*/ 760880 h 6857999"/>
              <a:gd name="connsiteX109" fmla="*/ 5473176 w 6096000"/>
              <a:gd name="connsiteY109" fmla="*/ 757358 h 6857999"/>
              <a:gd name="connsiteX110" fmla="*/ 5483907 w 6096000"/>
              <a:gd name="connsiteY110" fmla="*/ 752664 h 6857999"/>
              <a:gd name="connsiteX111" fmla="*/ 5494303 w 6096000"/>
              <a:gd name="connsiteY111" fmla="*/ 746963 h 6857999"/>
              <a:gd name="connsiteX112" fmla="*/ 5503860 w 6096000"/>
              <a:gd name="connsiteY112" fmla="*/ 740088 h 6857999"/>
              <a:gd name="connsiteX113" fmla="*/ 5512579 w 6096000"/>
              <a:gd name="connsiteY113" fmla="*/ 732207 h 6857999"/>
              <a:gd name="connsiteX114" fmla="*/ 5520460 w 6096000"/>
              <a:gd name="connsiteY114" fmla="*/ 723656 h 6857999"/>
              <a:gd name="connsiteX115" fmla="*/ 5527502 w 6096000"/>
              <a:gd name="connsiteY115" fmla="*/ 713931 h 6857999"/>
              <a:gd name="connsiteX116" fmla="*/ 5533203 w 6096000"/>
              <a:gd name="connsiteY116" fmla="*/ 703703 h 6857999"/>
              <a:gd name="connsiteX117" fmla="*/ 5537898 w 6096000"/>
              <a:gd name="connsiteY117" fmla="*/ 692636 h 6857999"/>
              <a:gd name="connsiteX118" fmla="*/ 5541252 w 6096000"/>
              <a:gd name="connsiteY118" fmla="*/ 681067 h 6857999"/>
              <a:gd name="connsiteX119" fmla="*/ 5543431 w 6096000"/>
              <a:gd name="connsiteY119" fmla="*/ 668994 h 6857999"/>
              <a:gd name="connsiteX120" fmla="*/ 5544102 w 6096000"/>
              <a:gd name="connsiteY120" fmla="*/ 656419 h 6857999"/>
              <a:gd name="connsiteX121" fmla="*/ 5543431 w 6096000"/>
              <a:gd name="connsiteY121" fmla="*/ 644011 h 6857999"/>
              <a:gd name="connsiteX122" fmla="*/ 5541252 w 6096000"/>
              <a:gd name="connsiteY122" fmla="*/ 631939 h 6857999"/>
              <a:gd name="connsiteX123" fmla="*/ 5537898 w 6096000"/>
              <a:gd name="connsiteY123" fmla="*/ 620369 h 6857999"/>
              <a:gd name="connsiteX124" fmla="*/ 5533203 w 6096000"/>
              <a:gd name="connsiteY124" fmla="*/ 609470 h 6857999"/>
              <a:gd name="connsiteX125" fmla="*/ 5527502 w 6096000"/>
              <a:gd name="connsiteY125" fmla="*/ 599074 h 6857999"/>
              <a:gd name="connsiteX126" fmla="*/ 5520460 w 6096000"/>
              <a:gd name="connsiteY126" fmla="*/ 589517 h 6857999"/>
              <a:gd name="connsiteX127" fmla="*/ 5512579 w 6096000"/>
              <a:gd name="connsiteY127" fmla="*/ 580798 h 6857999"/>
              <a:gd name="connsiteX128" fmla="*/ 5503860 w 6096000"/>
              <a:gd name="connsiteY128" fmla="*/ 572917 h 6857999"/>
              <a:gd name="connsiteX129" fmla="*/ 5494303 w 6096000"/>
              <a:gd name="connsiteY129" fmla="*/ 566043 h 6857999"/>
              <a:gd name="connsiteX130" fmla="*/ 5483907 w 6096000"/>
              <a:gd name="connsiteY130" fmla="*/ 560174 h 6857999"/>
              <a:gd name="connsiteX131" fmla="*/ 5473176 w 6096000"/>
              <a:gd name="connsiteY131" fmla="*/ 555647 h 6857999"/>
              <a:gd name="connsiteX132" fmla="*/ 5461607 w 6096000"/>
              <a:gd name="connsiteY132" fmla="*/ 552126 h 6857999"/>
              <a:gd name="connsiteX133" fmla="*/ 5449534 w 6096000"/>
              <a:gd name="connsiteY133" fmla="*/ 549946 h 6857999"/>
              <a:gd name="connsiteX134" fmla="*/ 0 w 6096000"/>
              <a:gd name="connsiteY134" fmla="*/ 0 h 6857999"/>
              <a:gd name="connsiteX135" fmla="*/ 6096000 w 6096000"/>
              <a:gd name="connsiteY135" fmla="*/ 0 h 6857999"/>
              <a:gd name="connsiteX136" fmla="*/ 6096000 w 6096000"/>
              <a:gd name="connsiteY136" fmla="*/ 6857999 h 6857999"/>
              <a:gd name="connsiteX137" fmla="*/ 0 w 6096000"/>
              <a:gd name="connsiteY13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6096000" h="6857999">
                <a:moveTo>
                  <a:pt x="4782864" y="611650"/>
                </a:moveTo>
                <a:lnTo>
                  <a:pt x="4782864" y="883953"/>
                </a:lnTo>
                <a:lnTo>
                  <a:pt x="4811395" y="883953"/>
                </a:lnTo>
                <a:lnTo>
                  <a:pt x="4811395" y="636131"/>
                </a:lnTo>
                <a:lnTo>
                  <a:pt x="4871644" y="636131"/>
                </a:lnTo>
                <a:lnTo>
                  <a:pt x="4881378" y="636634"/>
                </a:lnTo>
                <a:lnTo>
                  <a:pt x="4890105" y="637808"/>
                </a:lnTo>
                <a:lnTo>
                  <a:pt x="4898329" y="639652"/>
                </a:lnTo>
                <a:lnTo>
                  <a:pt x="4905713" y="642335"/>
                </a:lnTo>
                <a:lnTo>
                  <a:pt x="4912091" y="645856"/>
                </a:lnTo>
                <a:lnTo>
                  <a:pt x="4917965" y="650215"/>
                </a:lnTo>
                <a:lnTo>
                  <a:pt x="4922832" y="655246"/>
                </a:lnTo>
                <a:lnTo>
                  <a:pt x="4927027" y="661114"/>
                </a:lnTo>
                <a:lnTo>
                  <a:pt x="4930384" y="667821"/>
                </a:lnTo>
                <a:lnTo>
                  <a:pt x="4932901" y="675199"/>
                </a:lnTo>
                <a:lnTo>
                  <a:pt x="4935083" y="683247"/>
                </a:lnTo>
                <a:lnTo>
                  <a:pt x="4935922" y="692302"/>
                </a:lnTo>
                <a:lnTo>
                  <a:pt x="4936426" y="701859"/>
                </a:lnTo>
                <a:lnTo>
                  <a:pt x="4935922" y="711081"/>
                </a:lnTo>
                <a:lnTo>
                  <a:pt x="4934579" y="719465"/>
                </a:lnTo>
                <a:lnTo>
                  <a:pt x="4932230" y="727010"/>
                </a:lnTo>
                <a:lnTo>
                  <a:pt x="4929041" y="734052"/>
                </a:lnTo>
                <a:lnTo>
                  <a:pt x="4925349" y="740256"/>
                </a:lnTo>
                <a:lnTo>
                  <a:pt x="4920482" y="745789"/>
                </a:lnTo>
                <a:lnTo>
                  <a:pt x="4915112" y="750820"/>
                </a:lnTo>
                <a:lnTo>
                  <a:pt x="4909405" y="755011"/>
                </a:lnTo>
                <a:lnTo>
                  <a:pt x="4902692" y="758700"/>
                </a:lnTo>
                <a:lnTo>
                  <a:pt x="4895476" y="761551"/>
                </a:lnTo>
                <a:lnTo>
                  <a:pt x="4887924" y="763898"/>
                </a:lnTo>
                <a:lnTo>
                  <a:pt x="4880036" y="765407"/>
                </a:lnTo>
                <a:lnTo>
                  <a:pt x="4871477" y="766413"/>
                </a:lnTo>
                <a:lnTo>
                  <a:pt x="4862582" y="766916"/>
                </a:lnTo>
                <a:lnTo>
                  <a:pt x="4853687" y="766916"/>
                </a:lnTo>
                <a:lnTo>
                  <a:pt x="4853687" y="792235"/>
                </a:lnTo>
                <a:lnTo>
                  <a:pt x="4860064" y="792235"/>
                </a:lnTo>
                <a:lnTo>
                  <a:pt x="4872819" y="791900"/>
                </a:lnTo>
                <a:lnTo>
                  <a:pt x="4884567" y="790391"/>
                </a:lnTo>
                <a:lnTo>
                  <a:pt x="4895476" y="788379"/>
                </a:lnTo>
                <a:lnTo>
                  <a:pt x="4905713" y="785360"/>
                </a:lnTo>
                <a:lnTo>
                  <a:pt x="4915112" y="781672"/>
                </a:lnTo>
                <a:lnTo>
                  <a:pt x="4923503" y="777480"/>
                </a:lnTo>
                <a:lnTo>
                  <a:pt x="4931391" y="772450"/>
                </a:lnTo>
                <a:lnTo>
                  <a:pt x="4938272" y="767084"/>
                </a:lnTo>
                <a:lnTo>
                  <a:pt x="4944313" y="760880"/>
                </a:lnTo>
                <a:lnTo>
                  <a:pt x="4949684" y="754341"/>
                </a:lnTo>
                <a:lnTo>
                  <a:pt x="4954215" y="747466"/>
                </a:lnTo>
                <a:lnTo>
                  <a:pt x="4958243" y="740256"/>
                </a:lnTo>
                <a:lnTo>
                  <a:pt x="4961432" y="732543"/>
                </a:lnTo>
                <a:lnTo>
                  <a:pt x="4963781" y="724663"/>
                </a:lnTo>
                <a:lnTo>
                  <a:pt x="4965627" y="716614"/>
                </a:lnTo>
                <a:lnTo>
                  <a:pt x="4966467" y="708231"/>
                </a:lnTo>
                <a:lnTo>
                  <a:pt x="4966970" y="700014"/>
                </a:lnTo>
                <a:lnTo>
                  <a:pt x="4966299" y="688613"/>
                </a:lnTo>
                <a:lnTo>
                  <a:pt x="4964956" y="678049"/>
                </a:lnTo>
                <a:lnTo>
                  <a:pt x="4962271" y="667821"/>
                </a:lnTo>
                <a:lnTo>
                  <a:pt x="4959082" y="658599"/>
                </a:lnTo>
                <a:lnTo>
                  <a:pt x="4954719" y="650048"/>
                </a:lnTo>
                <a:lnTo>
                  <a:pt x="4949684" y="642335"/>
                </a:lnTo>
                <a:lnTo>
                  <a:pt x="4943642" y="635460"/>
                </a:lnTo>
                <a:lnTo>
                  <a:pt x="4936929" y="629089"/>
                </a:lnTo>
                <a:lnTo>
                  <a:pt x="4929209" y="624058"/>
                </a:lnTo>
                <a:lnTo>
                  <a:pt x="4920985" y="619699"/>
                </a:lnTo>
                <a:lnTo>
                  <a:pt x="4911755" y="616178"/>
                </a:lnTo>
                <a:lnTo>
                  <a:pt x="4901685" y="613663"/>
                </a:lnTo>
                <a:lnTo>
                  <a:pt x="4891280" y="611986"/>
                </a:lnTo>
                <a:lnTo>
                  <a:pt x="4880036" y="611650"/>
                </a:lnTo>
                <a:close/>
                <a:moveTo>
                  <a:pt x="5227463" y="611650"/>
                </a:moveTo>
                <a:lnTo>
                  <a:pt x="5227463" y="734745"/>
                </a:lnTo>
                <a:lnTo>
                  <a:pt x="5095336" y="734745"/>
                </a:lnTo>
                <a:lnTo>
                  <a:pt x="5095336" y="758979"/>
                </a:lnTo>
                <a:lnTo>
                  <a:pt x="5227463" y="758979"/>
                </a:lnTo>
                <a:lnTo>
                  <a:pt x="5227463" y="883952"/>
                </a:lnTo>
                <a:lnTo>
                  <a:pt x="5255659" y="883952"/>
                </a:lnTo>
                <a:lnTo>
                  <a:pt x="5255659" y="611650"/>
                </a:lnTo>
                <a:close/>
                <a:moveTo>
                  <a:pt x="5025655" y="611650"/>
                </a:moveTo>
                <a:lnTo>
                  <a:pt x="5025655" y="883952"/>
                </a:lnTo>
                <a:lnTo>
                  <a:pt x="5053851" y="883952"/>
                </a:lnTo>
                <a:lnTo>
                  <a:pt x="5053851" y="611650"/>
                </a:lnTo>
                <a:close/>
                <a:moveTo>
                  <a:pt x="5437126" y="549275"/>
                </a:moveTo>
                <a:lnTo>
                  <a:pt x="5424551" y="549946"/>
                </a:lnTo>
                <a:lnTo>
                  <a:pt x="5412646" y="552126"/>
                </a:lnTo>
                <a:lnTo>
                  <a:pt x="5401077" y="555647"/>
                </a:lnTo>
                <a:lnTo>
                  <a:pt x="5389843" y="560174"/>
                </a:lnTo>
                <a:lnTo>
                  <a:pt x="5379782" y="566043"/>
                </a:lnTo>
                <a:lnTo>
                  <a:pt x="5370057" y="572917"/>
                </a:lnTo>
                <a:lnTo>
                  <a:pt x="5361506" y="580798"/>
                </a:lnTo>
                <a:lnTo>
                  <a:pt x="5353625" y="589517"/>
                </a:lnTo>
                <a:lnTo>
                  <a:pt x="5346751" y="599074"/>
                </a:lnTo>
                <a:lnTo>
                  <a:pt x="5340882" y="609470"/>
                </a:lnTo>
                <a:lnTo>
                  <a:pt x="5336355" y="620369"/>
                </a:lnTo>
                <a:lnTo>
                  <a:pt x="5332834" y="631939"/>
                </a:lnTo>
                <a:lnTo>
                  <a:pt x="5330822" y="644011"/>
                </a:lnTo>
                <a:lnTo>
                  <a:pt x="5330151" y="656419"/>
                </a:lnTo>
                <a:lnTo>
                  <a:pt x="5330822" y="668994"/>
                </a:lnTo>
                <a:lnTo>
                  <a:pt x="5332834" y="681067"/>
                </a:lnTo>
                <a:lnTo>
                  <a:pt x="5336355" y="692636"/>
                </a:lnTo>
                <a:lnTo>
                  <a:pt x="5340882" y="703703"/>
                </a:lnTo>
                <a:lnTo>
                  <a:pt x="5346751" y="713931"/>
                </a:lnTo>
                <a:lnTo>
                  <a:pt x="5353625" y="723656"/>
                </a:lnTo>
                <a:lnTo>
                  <a:pt x="5361506" y="732207"/>
                </a:lnTo>
                <a:lnTo>
                  <a:pt x="5370057" y="740088"/>
                </a:lnTo>
                <a:lnTo>
                  <a:pt x="5379782" y="746963"/>
                </a:lnTo>
                <a:lnTo>
                  <a:pt x="5389843" y="752664"/>
                </a:lnTo>
                <a:lnTo>
                  <a:pt x="5401077" y="757358"/>
                </a:lnTo>
                <a:lnTo>
                  <a:pt x="5412646" y="760880"/>
                </a:lnTo>
                <a:lnTo>
                  <a:pt x="5424551" y="762892"/>
                </a:lnTo>
                <a:lnTo>
                  <a:pt x="5437126" y="763562"/>
                </a:lnTo>
                <a:lnTo>
                  <a:pt x="5449534" y="762892"/>
                </a:lnTo>
                <a:lnTo>
                  <a:pt x="5461607" y="760880"/>
                </a:lnTo>
                <a:lnTo>
                  <a:pt x="5473176" y="757358"/>
                </a:lnTo>
                <a:lnTo>
                  <a:pt x="5483907" y="752664"/>
                </a:lnTo>
                <a:lnTo>
                  <a:pt x="5494303" y="746963"/>
                </a:lnTo>
                <a:lnTo>
                  <a:pt x="5503860" y="740088"/>
                </a:lnTo>
                <a:lnTo>
                  <a:pt x="5512579" y="732207"/>
                </a:lnTo>
                <a:lnTo>
                  <a:pt x="5520460" y="723656"/>
                </a:lnTo>
                <a:lnTo>
                  <a:pt x="5527502" y="713931"/>
                </a:lnTo>
                <a:lnTo>
                  <a:pt x="5533203" y="703703"/>
                </a:lnTo>
                <a:lnTo>
                  <a:pt x="5537898" y="692636"/>
                </a:lnTo>
                <a:lnTo>
                  <a:pt x="5541252" y="681067"/>
                </a:lnTo>
                <a:lnTo>
                  <a:pt x="5543431" y="668994"/>
                </a:lnTo>
                <a:lnTo>
                  <a:pt x="5544102" y="656419"/>
                </a:lnTo>
                <a:lnTo>
                  <a:pt x="5543431" y="644011"/>
                </a:lnTo>
                <a:lnTo>
                  <a:pt x="5541252" y="631939"/>
                </a:lnTo>
                <a:lnTo>
                  <a:pt x="5537898" y="620369"/>
                </a:lnTo>
                <a:lnTo>
                  <a:pt x="5533203" y="609470"/>
                </a:lnTo>
                <a:lnTo>
                  <a:pt x="5527502" y="599074"/>
                </a:lnTo>
                <a:lnTo>
                  <a:pt x="5520460" y="589517"/>
                </a:lnTo>
                <a:lnTo>
                  <a:pt x="5512579" y="580798"/>
                </a:lnTo>
                <a:lnTo>
                  <a:pt x="5503860" y="572917"/>
                </a:lnTo>
                <a:lnTo>
                  <a:pt x="5494303" y="566043"/>
                </a:lnTo>
                <a:lnTo>
                  <a:pt x="5483907" y="560174"/>
                </a:lnTo>
                <a:lnTo>
                  <a:pt x="5473176" y="555647"/>
                </a:lnTo>
                <a:lnTo>
                  <a:pt x="5461607" y="552126"/>
                </a:lnTo>
                <a:lnTo>
                  <a:pt x="5449534" y="549946"/>
                </a:lnTo>
                <a:close/>
                <a:moveTo>
                  <a:pt x="0" y="0"/>
                </a:moveTo>
                <a:lnTo>
                  <a:pt x="6096000" y="0"/>
                </a:lnTo>
                <a:lnTo>
                  <a:pt x="6096000" y="6857999"/>
                </a:lnTo>
                <a:lnTo>
                  <a:pt x="0" y="6857999"/>
                </a:lnTo>
                <a:close/>
              </a:path>
            </a:pathLst>
          </a:custGeom>
          <a:solidFill>
            <a:schemeClr val="accent1"/>
          </a:solidFill>
        </p:spPr>
        <p:txBody>
          <a:bodyPr wrap="square">
            <a:noAutofit/>
          </a:bodyPr>
          <a:lstStyle/>
          <a:p>
            <a:r>
              <a:rPr lang="de-DE"/>
              <a:t>Bild auf Platzhalter ziehen oder durch Klicken auf Symbol hinzufügen</a:t>
            </a:r>
          </a:p>
        </p:txBody>
      </p:sp>
      <p:sp>
        <p:nvSpPr>
          <p:cNvPr id="3" name="Inhaltsplatzhalter 2"/>
          <p:cNvSpPr>
            <a:spLocks noGrp="1"/>
          </p:cNvSpPr>
          <p:nvPr>
            <p:ph idx="1"/>
          </p:nvPr>
        </p:nvSpPr>
        <p:spPr>
          <a:xfrm>
            <a:off x="550862" y="1989137"/>
            <a:ext cx="5329113" cy="41402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Freeform 9"/>
          <p:cNvSpPr>
            <a:spLocks/>
          </p:cNvSpPr>
          <p:nvPr/>
        </p:nvSpPr>
        <p:spPr bwMode="auto">
          <a:xfrm>
            <a:off x="11461027" y="6452984"/>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5" name="Freeform 10"/>
          <p:cNvSpPr>
            <a:spLocks/>
          </p:cNvSpPr>
          <p:nvPr/>
        </p:nvSpPr>
        <p:spPr bwMode="auto">
          <a:xfrm>
            <a:off x="11534132" y="6452984"/>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8" name="Fußzeilenplatzhalter 7"/>
          <p:cNvSpPr>
            <a:spLocks noGrp="1"/>
          </p:cNvSpPr>
          <p:nvPr>
            <p:ph type="ftr" sz="quarter" idx="15"/>
          </p:nvPr>
        </p:nvSpPr>
        <p:spPr/>
        <p:txBody>
          <a:bodyPr/>
          <a:lstStyle/>
          <a:p>
            <a:endParaRPr lang="de-DE" dirty="0"/>
          </a:p>
        </p:txBody>
      </p:sp>
      <p:sp>
        <p:nvSpPr>
          <p:cNvPr id="11" name="Titel 10"/>
          <p:cNvSpPr>
            <a:spLocks noGrp="1"/>
          </p:cNvSpPr>
          <p:nvPr>
            <p:ph type="title"/>
          </p:nvPr>
        </p:nvSpPr>
        <p:spPr>
          <a:xfrm>
            <a:off x="550864" y="549276"/>
            <a:ext cx="5329112" cy="827088"/>
          </a:xfrm>
        </p:spPr>
        <p:txBody>
          <a:bodyPr/>
          <a:lstStyle/>
          <a:p>
            <a:r>
              <a:rPr lang="de-DE"/>
              <a:t>Mastertitelformat bearbeiten</a:t>
            </a:r>
          </a:p>
        </p:txBody>
      </p:sp>
      <p:sp>
        <p:nvSpPr>
          <p:cNvPr id="27"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9"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Abgerundetes Rechteck 12">
            <a:extLst>
              <a:ext uri="{FF2B5EF4-FFF2-40B4-BE49-F238E27FC236}">
                <a16:creationId xmlns:a16="http://schemas.microsoft.com/office/drawing/2014/main" id="{6B5C4FC2-DFA7-C243-828E-D0D317733155}"/>
              </a:ext>
            </a:extLst>
          </p:cNvPr>
          <p:cNvSpPr/>
          <p:nvPr userDrawn="1"/>
        </p:nvSpPr>
        <p:spPr>
          <a:xfrm>
            <a:off x="9756071" y="6243331"/>
            <a:ext cx="1884032" cy="475589"/>
          </a:xfrm>
          <a:prstGeom prst="roundRect">
            <a:avLst/>
          </a:prstGeom>
          <a:solidFill>
            <a:schemeClr val="bg2"/>
          </a:solidFill>
          <a:ln>
            <a:solidFill>
              <a:srgbClr val="425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pic>
        <p:nvPicPr>
          <p:cNvPr id="16" name="Grafik 15" descr="Chevron Pfeile">
            <a:hlinkClick r:id="" action="ppaction://hlinkshowjump?jump=nextslide"/>
            <a:extLst>
              <a:ext uri="{FF2B5EF4-FFF2-40B4-BE49-F238E27FC236}">
                <a16:creationId xmlns:a16="http://schemas.microsoft.com/office/drawing/2014/main" id="{44F4265F-58C1-424D-9036-71588895385C}"/>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165925" y="6281851"/>
            <a:ext cx="418658" cy="418658"/>
          </a:xfrm>
          <a:prstGeom prst="rect">
            <a:avLst/>
          </a:prstGeom>
        </p:spPr>
      </p:pic>
      <p:pic>
        <p:nvPicPr>
          <p:cNvPr id="17" name="Grafik 16" descr="Chevronpfeile RNL">
            <a:hlinkClick r:id="" action="ppaction://hlinkshowjump?jump=previousslide"/>
            <a:extLst>
              <a:ext uri="{FF2B5EF4-FFF2-40B4-BE49-F238E27FC236}">
                <a16:creationId xmlns:a16="http://schemas.microsoft.com/office/drawing/2014/main" id="{BAEB26A6-2959-334C-97CE-F31256A564FB}"/>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823609" y="6281851"/>
            <a:ext cx="418658" cy="418658"/>
          </a:xfrm>
          <a:prstGeom prst="rect">
            <a:avLst/>
          </a:prstGeom>
        </p:spPr>
      </p:pic>
      <p:pic>
        <p:nvPicPr>
          <p:cNvPr id="18" name="Grafik 17" descr="Zuhause">
            <a:hlinkClick r:id="" action="ppaction://hlinkshowjump?jump=firstslide"/>
            <a:extLst>
              <a:ext uri="{FF2B5EF4-FFF2-40B4-BE49-F238E27FC236}">
                <a16:creationId xmlns:a16="http://schemas.microsoft.com/office/drawing/2014/main" id="{EC4CF64C-9477-3B4D-94AA-5ABB52DAFD4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329292" y="6281851"/>
            <a:ext cx="367685" cy="367685"/>
          </a:xfrm>
          <a:prstGeom prst="rect">
            <a:avLst/>
          </a:prstGeom>
        </p:spPr>
      </p:pic>
      <p:sp>
        <p:nvSpPr>
          <p:cNvPr id="19" name="Textfeld 18">
            <a:hlinkClick r:id="rId12" action="ppaction://hlinksldjump"/>
            <a:extLst>
              <a:ext uri="{FF2B5EF4-FFF2-40B4-BE49-F238E27FC236}">
                <a16:creationId xmlns:a16="http://schemas.microsoft.com/office/drawing/2014/main" id="{7615EB3E-32D1-3147-89BA-E27E54CD49DC}"/>
              </a:ext>
            </a:extLst>
          </p:cNvPr>
          <p:cNvSpPr txBox="1"/>
          <p:nvPr userDrawn="1"/>
        </p:nvSpPr>
        <p:spPr>
          <a:xfrm>
            <a:off x="10784002" y="6322201"/>
            <a:ext cx="294897" cy="289345"/>
          </a:xfrm>
          <a:custGeom>
            <a:avLst/>
            <a:gdLst/>
            <a:ahLst/>
            <a:cxnLst/>
            <a:rect l="l" t="t" r="r" b="b"/>
            <a:pathLst>
              <a:path w="889852" h="889852">
                <a:moveTo>
                  <a:pt x="444926" y="0"/>
                </a:moveTo>
                <a:cubicBezTo>
                  <a:pt x="690652" y="0"/>
                  <a:pt x="889852" y="199200"/>
                  <a:pt x="889852" y="444926"/>
                </a:cubicBezTo>
                <a:cubicBezTo>
                  <a:pt x="889852" y="690652"/>
                  <a:pt x="690652" y="889852"/>
                  <a:pt x="444926" y="889852"/>
                </a:cubicBezTo>
                <a:cubicBezTo>
                  <a:pt x="199200" y="889852"/>
                  <a:pt x="0" y="690652"/>
                  <a:pt x="0" y="444926"/>
                </a:cubicBezTo>
                <a:cubicBezTo>
                  <a:pt x="0" y="199200"/>
                  <a:pt x="199200" y="0"/>
                  <a:pt x="444926" y="0"/>
                </a:cubicBezTo>
                <a:close/>
                <a:moveTo>
                  <a:pt x="382813" y="227974"/>
                </a:moveTo>
                <a:lnTo>
                  <a:pt x="382813" y="303983"/>
                </a:lnTo>
                <a:lnTo>
                  <a:pt x="494494" y="303983"/>
                </a:lnTo>
                <a:lnTo>
                  <a:pt x="494494" y="227974"/>
                </a:lnTo>
                <a:lnTo>
                  <a:pt x="382813" y="227974"/>
                </a:lnTo>
                <a:close/>
                <a:moveTo>
                  <a:pt x="382813" y="338832"/>
                </a:moveTo>
                <a:lnTo>
                  <a:pt x="382813" y="630247"/>
                </a:lnTo>
                <a:lnTo>
                  <a:pt x="494494" y="630247"/>
                </a:lnTo>
                <a:lnTo>
                  <a:pt x="494494" y="338832"/>
                </a:lnTo>
                <a:lnTo>
                  <a:pt x="382813" y="338832"/>
                </a:lnTo>
                <a:close/>
              </a:path>
            </a:pathLst>
          </a:custGeom>
          <a:solidFill>
            <a:srgbClr val="42586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CH" sz="3600" b="1" dirty="0">
              <a:solidFill>
                <a:schemeClr val="bg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864176017"/>
      </p:ext>
    </p:extLst>
  </p:cSld>
  <p:clrMapOvr>
    <a:masterClrMapping/>
  </p:clrMapOvr>
  <p:extLst>
    <p:ext uri="{DCECCB84-F9BA-43D5-87BE-67443E8EF086}">
      <p15:sldGuideLst xmlns:p15="http://schemas.microsoft.com/office/powerpoint/2012/main">
        <p15:guide id="1" pos="3840">
          <p15:clr>
            <a:srgbClr val="FBAE40"/>
          </p15:clr>
        </p15:guide>
        <p15:guide id="2" pos="347">
          <p15:clr>
            <a:srgbClr val="FBAE40"/>
          </p15:clr>
        </p15:guide>
        <p15:guide id="3" orient="horz" pos="2568">
          <p15:clr>
            <a:srgbClr val="FBAE40"/>
          </p15:clr>
        </p15:guide>
        <p15:guide id="4" orient="horz" pos="1253">
          <p15:clr>
            <a:srgbClr val="FBAE40"/>
          </p15:clr>
        </p15:guide>
        <p15:guide id="7" pos="3704">
          <p15:clr>
            <a:srgbClr val="FBAE40"/>
          </p15:clr>
        </p15:guide>
        <p15:guide id="8" pos="7333">
          <p15:clr>
            <a:srgbClr val="FBAE40"/>
          </p15:clr>
        </p15:guide>
        <p15:guide id="9" orient="horz" pos="386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itat">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Folie" r:id="rId4" imgW="344" imgH="344" progId="TCLayout.ActiveDocument.1">
                  <p:embed/>
                </p:oleObj>
              </mc:Choice>
              <mc:Fallback>
                <p:oleObj name="think-cell Folie" r:id="rId4" imgW="344" imgH="344"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50862" y="883953"/>
            <a:ext cx="9901622" cy="5245385"/>
          </a:xfrm>
        </p:spPr>
        <p:txBody>
          <a:bodyPr>
            <a:noAutofit/>
          </a:bodyPr>
          <a:lstStyle>
            <a:lvl1pPr>
              <a:defRPr sz="4800" b="1" i="1">
                <a:solidFill>
                  <a:schemeClr val="bg1"/>
                </a:solidFill>
              </a:defRPr>
            </a:lvl1pPr>
          </a:lstStyle>
          <a:p>
            <a:r>
              <a:rPr lang="de-DE" dirty="0"/>
              <a:t>Mastertitelformat bearbeiten</a:t>
            </a:r>
            <a:endParaRPr lang="en-US" dirty="0"/>
          </a:p>
        </p:txBody>
      </p:sp>
      <p:sp>
        <p:nvSpPr>
          <p:cNvPr id="26" name="Fußzeilenplatzhalter 25"/>
          <p:cNvSpPr>
            <a:spLocks noGrp="1"/>
          </p:cNvSpPr>
          <p:nvPr>
            <p:ph type="ftr" sz="quarter" idx="11"/>
          </p:nvPr>
        </p:nvSpPr>
        <p:spPr/>
        <p:txBody>
          <a:bodyPr/>
          <a:lstStyle>
            <a:lvl1pPr>
              <a:defRPr>
                <a:solidFill>
                  <a:schemeClr val="bg1"/>
                </a:solidFill>
              </a:defRPr>
            </a:lvl1pPr>
          </a:lstStyle>
          <a:p>
            <a:endParaRPr lang="de-DE" dirty="0"/>
          </a:p>
        </p:txBody>
      </p:sp>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66301468"/>
      </p:ext>
    </p:extLst>
  </p:cSld>
  <p:clrMapOvr>
    <a:masterClrMapping/>
  </p:clrMapOvr>
  <p:extLst>
    <p:ext uri="{DCECCB84-F9BA-43D5-87BE-67443E8EF086}">
      <p15:sldGuideLst xmlns:p15="http://schemas.microsoft.com/office/powerpoint/2012/main">
        <p15:guide id="1" pos="3840">
          <p15:clr>
            <a:srgbClr val="FBAE40"/>
          </p15:clr>
        </p15:guide>
        <p15:guide id="0" pos="7333">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 name="think-cell Folie" r:id="rId4" imgW="344" imgH="344" progId="TCLayout.ActiveDocument.1">
                  <p:embed/>
                </p:oleObj>
              </mc:Choice>
              <mc:Fallback>
                <p:oleObj name="think-cell Folie" r:id="rId4" imgW="344" imgH="344"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sp>
        <p:nvSpPr>
          <p:cNvPr id="3" name="Inhaltsplatzhalter 2"/>
          <p:cNvSpPr>
            <a:spLocks noGrp="1"/>
          </p:cNvSpPr>
          <p:nvPr>
            <p:ph idx="1"/>
          </p:nvPr>
        </p:nvSpPr>
        <p:spPr/>
        <p:txBody>
          <a:bodyPr numCol="1" spcCol="720000">
            <a:normAutofit/>
          </a:bodyPr>
          <a:lstStyle>
            <a:lvl1pPr marL="533400" indent="-533400">
              <a:spcBef>
                <a:spcPts val="2400"/>
              </a:spcBef>
              <a:buFont typeface="+mj-lt"/>
              <a:buAutoNum type="arabicPeriod"/>
              <a:defRPr sz="2600">
                <a:solidFill>
                  <a:schemeClr val="tx1"/>
                </a:solidFill>
              </a:defRPr>
            </a:lvl1pPr>
            <a:lvl2pPr marL="533400" indent="0">
              <a:spcBef>
                <a:spcPts val="1200"/>
              </a:spcBef>
              <a:buFont typeface="Arial" panose="020B0604020202020204" pitchFamily="34" charset="0"/>
              <a:buNone/>
              <a:tabLst>
                <a:tab pos="533400" algn="l"/>
              </a:tabLst>
              <a:defRPr sz="2600">
                <a:solidFill>
                  <a:schemeClr val="tx1"/>
                </a:solidFill>
              </a:defRPr>
            </a:lvl2pPr>
            <a:lvl3pPr marL="990600" indent="0">
              <a:buNone/>
              <a:tabLst/>
              <a:defRPr sz="2600">
                <a:solidFill>
                  <a:schemeClr val="tx1"/>
                </a:solidFill>
              </a:defRPr>
            </a:lvl3pPr>
            <a:lvl4pPr marL="990600" indent="0">
              <a:buNone/>
              <a:tabLst/>
              <a:defRPr sz="2600">
                <a:solidFill>
                  <a:schemeClr val="tx1"/>
                </a:solidFill>
              </a:defRPr>
            </a:lvl4pPr>
            <a:lvl5pPr marL="990600" indent="0">
              <a:buNone/>
              <a:tabLst/>
              <a:defRPr sz="2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ußzeilenplatzhalter 4"/>
          <p:cNvSpPr>
            <a:spLocks noGrp="1"/>
          </p:cNvSpPr>
          <p:nvPr>
            <p:ph type="ftr" sz="quarter" idx="11"/>
          </p:nvPr>
        </p:nvSpPr>
        <p:spPr/>
        <p:txBody>
          <a:bodyPr/>
          <a:lstStyle/>
          <a:p>
            <a:endParaRPr lang="en-US"/>
          </a:p>
        </p:txBody>
      </p:sp>
      <p:sp>
        <p:nvSpPr>
          <p:cNvPr id="20" name="Freihandform 19"/>
          <p:cNvSpPr/>
          <p:nvPr userDrawn="1"/>
        </p:nvSpPr>
        <p:spPr>
          <a:xfrm>
            <a:off x="4133018" y="4010809"/>
            <a:ext cx="8058982" cy="2851349"/>
          </a:xfrm>
          <a:custGeom>
            <a:avLst/>
            <a:gdLst>
              <a:gd name="connsiteX0" fmla="*/ 4733108 w 8058982"/>
              <a:gd name="connsiteY0" fmla="*/ 0 h 2851349"/>
              <a:gd name="connsiteX1" fmla="*/ 7937940 w 8058982"/>
              <a:gd name="connsiteY1" fmla="*/ 1064131 h 2851349"/>
              <a:gd name="connsiteX2" fmla="*/ 8058982 w 8058982"/>
              <a:gd name="connsiteY2" fmla="*/ 1159250 h 2851349"/>
              <a:gd name="connsiteX3" fmla="*/ 8058982 w 8058982"/>
              <a:gd name="connsiteY3" fmla="*/ 1176822 h 2851349"/>
              <a:gd name="connsiteX4" fmla="*/ 7929672 w 8058982"/>
              <a:gd name="connsiteY4" fmla="*/ 1075205 h 2851349"/>
              <a:gd name="connsiteX5" fmla="*/ 4733108 w 8058982"/>
              <a:gd name="connsiteY5" fmla="*/ 13820 h 2851349"/>
              <a:gd name="connsiteX6" fmla="*/ 35332 w 8058982"/>
              <a:gd name="connsiteY6" fmla="*/ 2809819 h 2851349"/>
              <a:gd name="connsiteX7" fmla="*/ 15326 w 8058982"/>
              <a:gd name="connsiteY7" fmla="*/ 2851349 h 2851349"/>
              <a:gd name="connsiteX8" fmla="*/ 0 w 8058982"/>
              <a:gd name="connsiteY8" fmla="*/ 2851349 h 2851349"/>
              <a:gd name="connsiteX9" fmla="*/ 23180 w 8058982"/>
              <a:gd name="connsiteY9" fmla="*/ 2803232 h 2851349"/>
              <a:gd name="connsiteX10" fmla="*/ 4733108 w 8058982"/>
              <a:gd name="connsiteY10" fmla="*/ 0 h 285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8982" h="2851349">
                <a:moveTo>
                  <a:pt x="4733108" y="0"/>
                </a:moveTo>
                <a:cubicBezTo>
                  <a:pt x="5934905" y="0"/>
                  <a:pt x="7044260" y="395788"/>
                  <a:pt x="7937940" y="1064131"/>
                </a:cubicBezTo>
                <a:lnTo>
                  <a:pt x="8058982" y="1159250"/>
                </a:lnTo>
                <a:lnTo>
                  <a:pt x="8058982" y="1176822"/>
                </a:lnTo>
                <a:lnTo>
                  <a:pt x="7929672" y="1075205"/>
                </a:lnTo>
                <a:cubicBezTo>
                  <a:pt x="7038298" y="408587"/>
                  <a:pt x="5931805" y="13820"/>
                  <a:pt x="4733108" y="13820"/>
                </a:cubicBezTo>
                <a:cubicBezTo>
                  <a:pt x="2704546" y="13820"/>
                  <a:pt x="940044" y="1144396"/>
                  <a:pt x="35332" y="2809819"/>
                </a:cubicBezTo>
                <a:lnTo>
                  <a:pt x="15326" y="2851349"/>
                </a:lnTo>
                <a:lnTo>
                  <a:pt x="0" y="2851349"/>
                </a:lnTo>
                <a:lnTo>
                  <a:pt x="23180" y="2803232"/>
                </a:lnTo>
                <a:cubicBezTo>
                  <a:pt x="930232" y="1133501"/>
                  <a:pt x="2699299" y="0"/>
                  <a:pt x="473310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9" name="Freihandform 18"/>
          <p:cNvSpPr/>
          <p:nvPr userDrawn="1"/>
        </p:nvSpPr>
        <p:spPr>
          <a:xfrm>
            <a:off x="1" y="460392"/>
            <a:ext cx="12191999" cy="5172259"/>
          </a:xfrm>
          <a:custGeom>
            <a:avLst/>
            <a:gdLst>
              <a:gd name="connsiteX0" fmla="*/ 12191999 w 12191999"/>
              <a:gd name="connsiteY0" fmla="*/ 0 h 5172259"/>
              <a:gd name="connsiteX1" fmla="*/ 12191999 w 12191999"/>
              <a:gd name="connsiteY1" fmla="*/ 33750 h 5172259"/>
              <a:gd name="connsiteX2" fmla="*/ 12035261 w 12191999"/>
              <a:gd name="connsiteY2" fmla="*/ 369493 h 5172259"/>
              <a:gd name="connsiteX3" fmla="*/ 4183295 w 12191999"/>
              <a:gd name="connsiteY3" fmla="*/ 5172259 h 5172259"/>
              <a:gd name="connsiteX4" fmla="*/ 74868 w 12191999"/>
              <a:gd name="connsiteY4" fmla="*/ 4158503 h 5172259"/>
              <a:gd name="connsiteX5" fmla="*/ 0 w 12191999"/>
              <a:gd name="connsiteY5" fmla="*/ 4117244 h 5172259"/>
              <a:gd name="connsiteX6" fmla="*/ 0 w 12191999"/>
              <a:gd name="connsiteY6" fmla="*/ 4100936 h 5172259"/>
              <a:gd name="connsiteX7" fmla="*/ 81524 w 12191999"/>
              <a:gd name="connsiteY7" fmla="*/ 4145863 h 5172259"/>
              <a:gd name="connsiteX8" fmla="*/ 4183295 w 12191999"/>
              <a:gd name="connsiteY8" fmla="*/ 5157977 h 5172259"/>
              <a:gd name="connsiteX9" fmla="*/ 12022541 w 12191999"/>
              <a:gd name="connsiteY9" fmla="*/ 362990 h 517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5172259">
                <a:moveTo>
                  <a:pt x="12191999" y="0"/>
                </a:moveTo>
                <a:lnTo>
                  <a:pt x="12191999" y="33750"/>
                </a:lnTo>
                <a:lnTo>
                  <a:pt x="12035261" y="369493"/>
                </a:lnTo>
                <a:cubicBezTo>
                  <a:pt x="10574831" y="3220787"/>
                  <a:pt x="7606958" y="5172259"/>
                  <a:pt x="4183295" y="5172259"/>
                </a:cubicBezTo>
                <a:cubicBezTo>
                  <a:pt x="2699708" y="5172259"/>
                  <a:pt x="1301707" y="4805816"/>
                  <a:pt x="74868" y="4158503"/>
                </a:cubicBezTo>
                <a:lnTo>
                  <a:pt x="0" y="4117244"/>
                </a:lnTo>
                <a:lnTo>
                  <a:pt x="0" y="4100936"/>
                </a:lnTo>
                <a:lnTo>
                  <a:pt x="81524" y="4145863"/>
                </a:lnTo>
                <a:cubicBezTo>
                  <a:pt x="1306376" y="4792128"/>
                  <a:pt x="2702112" y="5157977"/>
                  <a:pt x="4183295" y="5157977"/>
                </a:cubicBezTo>
                <a:cubicBezTo>
                  <a:pt x="7601412" y="5157977"/>
                  <a:pt x="10564476" y="3209665"/>
                  <a:pt x="12022541" y="36299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1502353061"/>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6" pos="7333">
          <p15:clr>
            <a:srgbClr val="FBAE40"/>
          </p15:clr>
        </p15:guide>
        <p15:guide id="7" pos="347">
          <p15:clr>
            <a:srgbClr val="FBAE40"/>
          </p15:clr>
        </p15:guide>
        <p15:guide id="8" orient="horz" pos="125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Folie" r:id="rId4" imgW="344" imgH="344" progId="TCLayout.ActiveDocument.1">
                  <p:embed/>
                </p:oleObj>
              </mc:Choice>
              <mc:Fallback>
                <p:oleObj name="think-cell Folie" r:id="rId4" imgW="344" imgH="344"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Fußzeilenplatzhalter 4"/>
          <p:cNvSpPr>
            <a:spLocks noGrp="1"/>
          </p:cNvSpPr>
          <p:nvPr>
            <p:ph type="ftr" sz="quarter" idx="11"/>
          </p:nvPr>
        </p:nvSpPr>
        <p:spPr/>
        <p:txBody>
          <a:bodyPr/>
          <a:lstStyle/>
          <a:p>
            <a:endParaRPr lang="en-US"/>
          </a:p>
        </p:txBody>
      </p:sp>
      <p:sp>
        <p:nvSpPr>
          <p:cNvPr id="8" name="Titel 1"/>
          <p:cNvSpPr txBox="1">
            <a:spLocks/>
          </p:cNvSpPr>
          <p:nvPr userDrawn="1"/>
        </p:nvSpPr>
        <p:spPr>
          <a:xfrm>
            <a:off x="550863" y="549276"/>
            <a:ext cx="9865617" cy="82708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a:lstStyle>
          <a:p>
            <a:r>
              <a:rPr lang="de-DE" dirty="0"/>
              <a:t>Dies ist eine reine Kopiervorlage für alle Arten von Textkästen</a:t>
            </a:r>
          </a:p>
          <a:p>
            <a:r>
              <a:rPr lang="de-DE" sz="1800" b="0" dirty="0" err="1"/>
              <a:t>Schriftgrösse</a:t>
            </a:r>
            <a:r>
              <a:rPr lang="de-DE" sz="1800" b="0" dirty="0"/>
              <a:t>,</a:t>
            </a:r>
            <a:r>
              <a:rPr lang="de-DE" sz="1800" b="0" baseline="0" dirty="0"/>
              <a:t> </a:t>
            </a:r>
            <a:r>
              <a:rPr lang="de-DE" sz="1800" b="0" dirty="0"/>
              <a:t>Abstände, Einzüge,</a:t>
            </a:r>
            <a:r>
              <a:rPr lang="de-DE" sz="1800" b="0" baseline="0" dirty="0"/>
              <a:t> Aufzählungszeichen etc. sind schon richtig voreingestellt</a:t>
            </a:r>
            <a:endParaRPr lang="en-US" sz="1800" b="0" dirty="0"/>
          </a:p>
        </p:txBody>
      </p:sp>
      <p:sp>
        <p:nvSpPr>
          <p:cNvPr id="10" name="Textplatzhalter 9"/>
          <p:cNvSpPr>
            <a:spLocks noGrp="1"/>
          </p:cNvSpPr>
          <p:nvPr>
            <p:ph type="body" sz="quarter" idx="13" hasCustomPrompt="1"/>
          </p:nvPr>
        </p:nvSpPr>
        <p:spPr>
          <a:xfrm>
            <a:off x="554719" y="1988395"/>
            <a:ext cx="3513138" cy="647700"/>
          </a:xfrm>
          <a:solidFill>
            <a:schemeClr val="accent1"/>
          </a:solidFill>
        </p:spPr>
        <p:txBody>
          <a:bodyPr lIns="90000" tIns="46800" rIns="90000" bIns="46800" anchor="ctr"/>
          <a:lstStyle>
            <a:lvl1pPr marL="0" indent="0" algn="ctr">
              <a:buNone/>
              <a:defRPr>
                <a:solidFill>
                  <a:schemeClr val="bg1"/>
                </a:solidFill>
              </a:defRPr>
            </a:lvl1pPr>
            <a:lvl2pPr marL="0" indent="0" algn="ctr">
              <a:buNone/>
              <a:defRPr/>
            </a:lvl2pPr>
            <a:lvl3pPr marL="360000" indent="0" algn="ctr">
              <a:buNone/>
              <a:defRPr/>
            </a:lvl3pPr>
            <a:lvl4pPr marL="540000" indent="0" algn="ctr">
              <a:buNone/>
              <a:defRPr/>
            </a:lvl4pPr>
            <a:lvl5pPr marL="720000" indent="0" algn="ctr">
              <a:buNone/>
              <a:defRPr/>
            </a:lvl5pPr>
          </a:lstStyle>
          <a:p>
            <a:pPr lvl="0"/>
            <a:r>
              <a:rPr lang="de-DE" dirty="0"/>
              <a:t>Textkasten für Überschriften</a:t>
            </a:r>
          </a:p>
        </p:txBody>
      </p:sp>
      <p:sp>
        <p:nvSpPr>
          <p:cNvPr id="13" name="Textplatzhalter 12"/>
          <p:cNvSpPr>
            <a:spLocks noGrp="1"/>
          </p:cNvSpPr>
          <p:nvPr>
            <p:ph type="body" sz="quarter" idx="15" hasCustomPrompt="1"/>
          </p:nvPr>
        </p:nvSpPr>
        <p:spPr>
          <a:xfrm>
            <a:off x="550863" y="2780928"/>
            <a:ext cx="3513138" cy="1584000"/>
          </a:xfrm>
          <a:solidFill>
            <a:schemeClr val="bg1"/>
          </a:solidFill>
        </p:spPr>
        <p:txBody>
          <a:bodyPr/>
          <a:lstStyle/>
          <a:p>
            <a:pPr lvl="0"/>
            <a:r>
              <a:rPr lang="de-DE" dirty="0"/>
              <a:t>Textkasten auf Weiß</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platzhalter 12"/>
          <p:cNvSpPr>
            <a:spLocks noGrp="1"/>
          </p:cNvSpPr>
          <p:nvPr>
            <p:ph type="body" sz="quarter" idx="16" hasCustomPrompt="1"/>
          </p:nvPr>
        </p:nvSpPr>
        <p:spPr>
          <a:xfrm>
            <a:off x="550863" y="4533528"/>
            <a:ext cx="3513138" cy="1584000"/>
          </a:xfrm>
          <a:solidFill>
            <a:schemeClr val="bg2"/>
          </a:solidFill>
        </p:spPr>
        <p:txBody>
          <a:bodyPr lIns="90000" tIns="46800" rIns="90000" bIns="46800"/>
          <a:lstStyle>
            <a:lvl1pPr>
              <a:defRPr/>
            </a:lvl1pPr>
          </a:lstStyle>
          <a:p>
            <a:pPr lvl="0"/>
            <a:r>
              <a:rPr lang="de-DE" dirty="0"/>
              <a:t>Textkasten auf Grau</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2"/>
          <p:cNvSpPr>
            <a:spLocks noGrp="1"/>
          </p:cNvSpPr>
          <p:nvPr>
            <p:ph type="body" sz="quarter" idx="18" hasCustomPrompt="1"/>
          </p:nvPr>
        </p:nvSpPr>
        <p:spPr>
          <a:xfrm>
            <a:off x="4339431" y="4533528"/>
            <a:ext cx="3513138" cy="1584000"/>
          </a:xfrm>
          <a:solidFill>
            <a:schemeClr val="accent4"/>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Sand</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Textplatzhalter 12"/>
          <p:cNvSpPr>
            <a:spLocks noGrp="1"/>
          </p:cNvSpPr>
          <p:nvPr>
            <p:ph type="body" sz="quarter" idx="20" hasCustomPrompt="1"/>
          </p:nvPr>
        </p:nvSpPr>
        <p:spPr>
          <a:xfrm>
            <a:off x="8149431" y="4533528"/>
            <a:ext cx="3513138" cy="1584000"/>
          </a:xfrm>
          <a:solidFill>
            <a:schemeClr val="accent6"/>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Blau</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Textplatzhalter 12"/>
          <p:cNvSpPr>
            <a:spLocks noGrp="1"/>
          </p:cNvSpPr>
          <p:nvPr>
            <p:ph type="body" sz="quarter" idx="21" hasCustomPrompt="1"/>
          </p:nvPr>
        </p:nvSpPr>
        <p:spPr>
          <a:xfrm>
            <a:off x="4339431" y="2784016"/>
            <a:ext cx="3513138" cy="1584000"/>
          </a:xfrm>
          <a:solidFill>
            <a:schemeClr val="accent3"/>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Berry</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Textplatzhalter 12"/>
          <p:cNvSpPr>
            <a:spLocks noGrp="1"/>
          </p:cNvSpPr>
          <p:nvPr>
            <p:ph type="body" sz="quarter" idx="22" hasCustomPrompt="1"/>
          </p:nvPr>
        </p:nvSpPr>
        <p:spPr>
          <a:xfrm>
            <a:off x="8149431" y="2784016"/>
            <a:ext cx="3513138" cy="1584000"/>
          </a:xfrm>
          <a:solidFill>
            <a:schemeClr val="accent5"/>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Orang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1" name="Textplatzhalter 12"/>
          <p:cNvSpPr>
            <a:spLocks noGrp="1"/>
          </p:cNvSpPr>
          <p:nvPr>
            <p:ph type="body" sz="quarter" idx="23" hasCustomPrompt="1"/>
          </p:nvPr>
        </p:nvSpPr>
        <p:spPr>
          <a:xfrm>
            <a:off x="7175944" y="1241529"/>
            <a:ext cx="1440336" cy="1440336"/>
          </a:xfrm>
          <a:prstGeom prst="ellipse">
            <a:avLst/>
          </a:prstGeom>
          <a:solidFill>
            <a:schemeClr val="accent1"/>
          </a:solidFill>
        </p:spPr>
        <p:txBody>
          <a:bodyPr wrap="none" lIns="90000" tIns="46800" rIns="90000" bIns="46800" anchor="ctr"/>
          <a:lstStyle>
            <a:lvl1pPr marL="0" indent="0" algn="ctr">
              <a:spcBef>
                <a:spcPts val="0"/>
              </a:spcBef>
              <a:buNone/>
              <a:defRPr sz="1600" b="1">
                <a:solidFill>
                  <a:schemeClr val="bg1"/>
                </a:solidFill>
              </a:defRPr>
            </a:lvl1pPr>
            <a:lvl2pPr marL="723900" indent="-4763" algn="ctr">
              <a:defRPr b="1">
                <a:solidFill>
                  <a:schemeClr val="bg1"/>
                </a:solidFill>
              </a:defRPr>
            </a:lvl2pPr>
            <a:lvl3pPr marL="723900" indent="-4763" algn="ctr">
              <a:defRPr b="1">
                <a:solidFill>
                  <a:schemeClr val="bg1"/>
                </a:solidFill>
              </a:defRPr>
            </a:lvl3pPr>
            <a:lvl4pPr marL="723900" indent="-4763" algn="ctr">
              <a:defRPr b="1">
                <a:solidFill>
                  <a:schemeClr val="bg1"/>
                </a:solidFill>
              </a:defRPr>
            </a:lvl4pPr>
            <a:lvl5pPr marL="723900" indent="-4763" algn="ctr">
              <a:defRPr b="1">
                <a:solidFill>
                  <a:schemeClr val="bg1"/>
                </a:solidFill>
              </a:defRPr>
            </a:lvl5pPr>
          </a:lstStyle>
          <a:p>
            <a:pPr lvl="0"/>
            <a:r>
              <a:rPr lang="de-DE" dirty="0"/>
              <a:t>Forma-</a:t>
            </a:r>
            <a:br>
              <a:rPr lang="de-DE" dirty="0"/>
            </a:br>
            <a:r>
              <a:rPr lang="de-DE" dirty="0" err="1"/>
              <a:t>tierung</a:t>
            </a:r>
            <a:r>
              <a:rPr lang="de-DE" dirty="0"/>
              <a:t> </a:t>
            </a:r>
            <a:br>
              <a:rPr lang="de-DE" dirty="0"/>
            </a:br>
            <a:r>
              <a:rPr lang="de-DE" dirty="0"/>
              <a:t>für Kreise</a:t>
            </a:r>
          </a:p>
        </p:txBody>
      </p:sp>
    </p:spTree>
    <p:extLst>
      <p:ext uri="{BB962C8B-B14F-4D97-AF65-F5344CB8AC3E}">
        <p14:creationId xmlns:p14="http://schemas.microsoft.com/office/powerpoint/2010/main" val="922204658"/>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pos="347">
          <p15:clr>
            <a:srgbClr val="FBAE40"/>
          </p15:clr>
        </p15:guide>
        <p15:guide id="4" pos="7333">
          <p15:clr>
            <a:srgbClr val="FBAE40"/>
          </p15:clr>
        </p15:guide>
        <p15:guide id="5" orient="horz" pos="1253">
          <p15:clr>
            <a:srgbClr val="FBAE40"/>
          </p15:clr>
        </p15:guide>
        <p15:guide id="7" orient="horz" pos="386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Inhalt_Leer">
    <p:spTree>
      <p:nvGrpSpPr>
        <p:cNvPr id="1" name=""/>
        <p:cNvGrpSpPr/>
        <p:nvPr/>
      </p:nvGrpSpPr>
      <p:grpSpPr>
        <a:xfrm>
          <a:off x="0" y="0"/>
          <a:ext cx="0" cy="0"/>
          <a:chOff x="0" y="0"/>
          <a:chExt cx="0" cy="0"/>
        </a:xfrm>
      </p:grpSpPr>
      <p:sp>
        <p:nvSpPr>
          <p:cNvPr id="5" name="Fußzeilenplatzhalter 4"/>
          <p:cNvSpPr>
            <a:spLocks noGrp="1"/>
          </p:cNvSpPr>
          <p:nvPr>
            <p:ph type="ftr" sz="quarter" idx="12"/>
          </p:nvPr>
        </p:nvSpPr>
        <p:spPr/>
        <p:txBody>
          <a:bodyPr/>
          <a:lstStyle/>
          <a:p>
            <a:endParaRPr lang="de-DE" dirty="0">
              <a:solidFill>
                <a:srgbClr val="455860"/>
              </a:solidFill>
            </a:endParaRPr>
          </a:p>
        </p:txBody>
      </p:sp>
    </p:spTree>
    <p:extLst>
      <p:ext uri="{BB962C8B-B14F-4D97-AF65-F5344CB8AC3E}">
        <p14:creationId xmlns:p14="http://schemas.microsoft.com/office/powerpoint/2010/main" val="29913435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komplett_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835194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Bild_horizont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 name="think-cell Folie" r:id="rId4" imgW="344" imgH="344" progId="TCLayout.ActiveDocument.1">
                  <p:embed/>
                </p:oleObj>
              </mc:Choice>
              <mc:Fallback>
                <p:oleObj name="think-cell Folie" r:id="rId4" imgW="344" imgH="344"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itel 17"/>
          <p:cNvSpPr>
            <a:spLocks noGrp="1"/>
          </p:cNvSpPr>
          <p:nvPr>
            <p:ph type="ctrTitle" hasCustomPrompt="1"/>
          </p:nvPr>
        </p:nvSpPr>
        <p:spPr>
          <a:xfrm>
            <a:off x="3175" y="3429000"/>
            <a:ext cx="12188824" cy="3429000"/>
          </a:xfrm>
          <a:custGeom>
            <a:avLst/>
            <a:gdLst/>
            <a:ahLst/>
            <a:cxnLst/>
            <a:rect l="l" t="t" r="r" b="b"/>
            <a:pathLst>
              <a:path w="12188824" h="3428999">
                <a:moveTo>
                  <a:pt x="9913413" y="2664774"/>
                </a:moveTo>
                <a:lnTo>
                  <a:pt x="9913413" y="2675576"/>
                </a:lnTo>
                <a:lnTo>
                  <a:pt x="9923909" y="2675576"/>
                </a:lnTo>
                <a:lnTo>
                  <a:pt x="9923909" y="2664774"/>
                </a:lnTo>
                <a:close/>
                <a:moveTo>
                  <a:pt x="10116181" y="2634887"/>
                </a:moveTo>
                <a:lnTo>
                  <a:pt x="10116181" y="2658825"/>
                </a:lnTo>
                <a:cubicBezTo>
                  <a:pt x="10115725" y="2659294"/>
                  <a:pt x="10114078" y="2660388"/>
                  <a:pt x="10111240" y="2662106"/>
                </a:cubicBezTo>
                <a:cubicBezTo>
                  <a:pt x="10108401" y="2663824"/>
                  <a:pt x="10104970" y="2665482"/>
                  <a:pt x="10100945" y="2667081"/>
                </a:cubicBezTo>
                <a:cubicBezTo>
                  <a:pt x="10096921" y="2668681"/>
                  <a:pt x="10092902" y="2669537"/>
                  <a:pt x="10088889" y="2669651"/>
                </a:cubicBezTo>
                <a:cubicBezTo>
                  <a:pt x="10083661" y="2669740"/>
                  <a:pt x="10079595" y="2668495"/>
                  <a:pt x="10076692" y="2665915"/>
                </a:cubicBezTo>
                <a:cubicBezTo>
                  <a:pt x="10073789" y="2663336"/>
                  <a:pt x="10072315" y="2658888"/>
                  <a:pt x="10072271" y="2652573"/>
                </a:cubicBezTo>
                <a:cubicBezTo>
                  <a:pt x="10072271" y="2647909"/>
                  <a:pt x="10074100" y="2644046"/>
                  <a:pt x="10077759" y="2640984"/>
                </a:cubicBezTo>
                <a:cubicBezTo>
                  <a:pt x="10081419" y="2637921"/>
                  <a:pt x="10086907" y="2636193"/>
                  <a:pt x="10094226" y="2635799"/>
                </a:cubicBezTo>
                <a:close/>
                <a:moveTo>
                  <a:pt x="10262248" y="2596785"/>
                </a:moveTo>
                <a:cubicBezTo>
                  <a:pt x="10269461" y="2596902"/>
                  <a:pt x="10274778" y="2599717"/>
                  <a:pt x="10278199" y="2605229"/>
                </a:cubicBezTo>
                <a:cubicBezTo>
                  <a:pt x="10281620" y="2610741"/>
                  <a:pt x="10283316" y="2618245"/>
                  <a:pt x="10283287" y="2627741"/>
                </a:cubicBezTo>
                <a:lnTo>
                  <a:pt x="10237091" y="2627741"/>
                </a:lnTo>
                <a:cubicBezTo>
                  <a:pt x="10238025" y="2617378"/>
                  <a:pt x="10240731" y="2609626"/>
                  <a:pt x="10245210" y="2604486"/>
                </a:cubicBezTo>
                <a:cubicBezTo>
                  <a:pt x="10249689" y="2599346"/>
                  <a:pt x="10255368" y="2596779"/>
                  <a:pt x="10262248" y="2596785"/>
                </a:cubicBezTo>
                <a:close/>
                <a:moveTo>
                  <a:pt x="10096513" y="2590403"/>
                </a:moveTo>
                <a:cubicBezTo>
                  <a:pt x="10090338" y="2590511"/>
                  <a:pt x="10084963" y="2591094"/>
                  <a:pt x="10080390" y="2592151"/>
                </a:cubicBezTo>
                <a:cubicBezTo>
                  <a:pt x="10075816" y="2593209"/>
                  <a:pt x="10072957" y="2594096"/>
                  <a:pt x="10071815" y="2594812"/>
                </a:cubicBezTo>
                <a:lnTo>
                  <a:pt x="10073643" y="2601816"/>
                </a:lnTo>
                <a:cubicBezTo>
                  <a:pt x="10075066" y="2601324"/>
                  <a:pt x="10077709" y="2600593"/>
                  <a:pt x="10081571" y="2599624"/>
                </a:cubicBezTo>
                <a:cubicBezTo>
                  <a:pt x="10085433" y="2598655"/>
                  <a:pt x="10089296" y="2598115"/>
                  <a:pt x="10093158" y="2598004"/>
                </a:cubicBezTo>
                <a:cubicBezTo>
                  <a:pt x="10101055" y="2597820"/>
                  <a:pt x="10106874" y="2598913"/>
                  <a:pt x="10110616" y="2601283"/>
                </a:cubicBezTo>
                <a:cubicBezTo>
                  <a:pt x="10114358" y="2603653"/>
                  <a:pt x="10116213" y="2608406"/>
                  <a:pt x="10116181" y="2615541"/>
                </a:cubicBezTo>
                <a:lnTo>
                  <a:pt x="10116181" y="2628198"/>
                </a:lnTo>
                <a:lnTo>
                  <a:pt x="10094988" y="2628655"/>
                </a:lnTo>
                <a:cubicBezTo>
                  <a:pt x="10090574" y="2628732"/>
                  <a:pt x="10086004" y="2629457"/>
                  <a:pt x="10081278" y="2630830"/>
                </a:cubicBezTo>
                <a:cubicBezTo>
                  <a:pt x="10076551" y="2632204"/>
                  <a:pt x="10072536" y="2634678"/>
                  <a:pt x="10069232" y="2638254"/>
                </a:cubicBezTo>
                <a:cubicBezTo>
                  <a:pt x="10065929" y="2641829"/>
                  <a:pt x="10064205" y="2646958"/>
                  <a:pt x="10064060" y="2653640"/>
                </a:cubicBezTo>
                <a:cubicBezTo>
                  <a:pt x="10064110" y="2661209"/>
                  <a:pt x="10066063" y="2666956"/>
                  <a:pt x="10069919" y="2670879"/>
                </a:cubicBezTo>
                <a:cubicBezTo>
                  <a:pt x="10073775" y="2674802"/>
                  <a:pt x="10079234" y="2676774"/>
                  <a:pt x="10086297" y="2676795"/>
                </a:cubicBezTo>
                <a:cubicBezTo>
                  <a:pt x="10092418" y="2676695"/>
                  <a:pt x="10097524" y="2675880"/>
                  <a:pt x="10101617" y="2674350"/>
                </a:cubicBezTo>
                <a:cubicBezTo>
                  <a:pt x="10105710" y="2672819"/>
                  <a:pt x="10108965" y="2671170"/>
                  <a:pt x="10111381" y="2669402"/>
                </a:cubicBezTo>
                <a:cubicBezTo>
                  <a:pt x="10113796" y="2667635"/>
                  <a:pt x="10115548" y="2666345"/>
                  <a:pt x="10116637" y="2665534"/>
                </a:cubicBezTo>
                <a:cubicBezTo>
                  <a:pt x="10117159" y="2669384"/>
                  <a:pt x="10118775" y="2672179"/>
                  <a:pt x="10121485" y="2673920"/>
                </a:cubicBezTo>
                <a:cubicBezTo>
                  <a:pt x="10124195" y="2675662"/>
                  <a:pt x="10127145" y="2676518"/>
                  <a:pt x="10130335" y="2676490"/>
                </a:cubicBezTo>
                <a:lnTo>
                  <a:pt x="10131554" y="2676490"/>
                </a:lnTo>
                <a:lnTo>
                  <a:pt x="10132316" y="2669651"/>
                </a:lnTo>
                <a:cubicBezTo>
                  <a:pt x="10130519" y="2669518"/>
                  <a:pt x="10128779" y="2668832"/>
                  <a:pt x="10127097" y="2667593"/>
                </a:cubicBezTo>
                <a:cubicBezTo>
                  <a:pt x="10125414" y="2666354"/>
                  <a:pt x="10124512" y="2663990"/>
                  <a:pt x="10124391" y="2660502"/>
                </a:cubicBezTo>
                <a:lnTo>
                  <a:pt x="10124391" y="2611729"/>
                </a:lnTo>
                <a:cubicBezTo>
                  <a:pt x="10124259" y="2603971"/>
                  <a:pt x="10121671" y="2598454"/>
                  <a:pt x="10116627" y="2595178"/>
                </a:cubicBezTo>
                <a:cubicBezTo>
                  <a:pt x="10111583" y="2591902"/>
                  <a:pt x="10104878" y="2590310"/>
                  <a:pt x="10096513" y="2590403"/>
                </a:cubicBezTo>
                <a:close/>
                <a:moveTo>
                  <a:pt x="10348660" y="2590251"/>
                </a:moveTo>
                <a:cubicBezTo>
                  <a:pt x="10342425" y="2590393"/>
                  <a:pt x="10336981" y="2591667"/>
                  <a:pt x="10332328" y="2594072"/>
                </a:cubicBezTo>
                <a:cubicBezTo>
                  <a:pt x="10327674" y="2596476"/>
                  <a:pt x="10323259" y="2599159"/>
                  <a:pt x="10319083" y="2602119"/>
                </a:cubicBezTo>
                <a:lnTo>
                  <a:pt x="10319083" y="2592537"/>
                </a:lnTo>
                <a:lnTo>
                  <a:pt x="10310720" y="2592537"/>
                </a:lnTo>
                <a:lnTo>
                  <a:pt x="10310720" y="2675576"/>
                </a:lnTo>
                <a:lnTo>
                  <a:pt x="10319083" y="2675576"/>
                </a:lnTo>
                <a:lnTo>
                  <a:pt x="10319083" y="2609739"/>
                </a:lnTo>
                <a:cubicBezTo>
                  <a:pt x="10322808" y="2607310"/>
                  <a:pt x="10327096" y="2604776"/>
                  <a:pt x="10331947" y="2602138"/>
                </a:cubicBezTo>
                <a:cubicBezTo>
                  <a:pt x="10336797" y="2599500"/>
                  <a:pt x="10341809" y="2598071"/>
                  <a:pt x="10346983" y="2597852"/>
                </a:cubicBezTo>
                <a:cubicBezTo>
                  <a:pt x="10352592" y="2597891"/>
                  <a:pt x="10356756" y="2599014"/>
                  <a:pt x="10359474" y="2601221"/>
                </a:cubicBezTo>
                <a:cubicBezTo>
                  <a:pt x="10362192" y="2603428"/>
                  <a:pt x="10363961" y="2606482"/>
                  <a:pt x="10364782" y="2610382"/>
                </a:cubicBezTo>
                <a:cubicBezTo>
                  <a:pt x="10365602" y="2614283"/>
                  <a:pt x="10365971" y="2618793"/>
                  <a:pt x="10365888" y="2623912"/>
                </a:cubicBezTo>
                <a:lnTo>
                  <a:pt x="10365888" y="2675576"/>
                </a:lnTo>
                <a:lnTo>
                  <a:pt x="10373946" y="2675576"/>
                </a:lnTo>
                <a:lnTo>
                  <a:pt x="10373946" y="2621474"/>
                </a:lnTo>
                <a:cubicBezTo>
                  <a:pt x="10374080" y="2617010"/>
                  <a:pt x="10373678" y="2612393"/>
                  <a:pt x="10372740" y="2607622"/>
                </a:cubicBezTo>
                <a:cubicBezTo>
                  <a:pt x="10371801" y="2602850"/>
                  <a:pt x="10369526" y="2598799"/>
                  <a:pt x="10365914" y="2595467"/>
                </a:cubicBezTo>
                <a:cubicBezTo>
                  <a:pt x="10362301" y="2592135"/>
                  <a:pt x="10356550" y="2590396"/>
                  <a:pt x="10348660" y="2590251"/>
                </a:cubicBezTo>
                <a:close/>
                <a:moveTo>
                  <a:pt x="10264077" y="2590251"/>
                </a:moveTo>
                <a:cubicBezTo>
                  <a:pt x="10253920" y="2590041"/>
                  <a:pt x="10245501" y="2593391"/>
                  <a:pt x="10238818" y="2600301"/>
                </a:cubicBezTo>
                <a:cubicBezTo>
                  <a:pt x="10232135" y="2607211"/>
                  <a:pt x="10228670" y="2618942"/>
                  <a:pt x="10228424" y="2635495"/>
                </a:cubicBezTo>
                <a:cubicBezTo>
                  <a:pt x="10228540" y="2651050"/>
                  <a:pt x="10231922" y="2661981"/>
                  <a:pt x="10238570" y="2668286"/>
                </a:cubicBezTo>
                <a:cubicBezTo>
                  <a:pt x="10245218" y="2674592"/>
                  <a:pt x="10254432" y="2677631"/>
                  <a:pt x="10266212" y="2677405"/>
                </a:cubicBezTo>
                <a:cubicBezTo>
                  <a:pt x="10273571" y="2677268"/>
                  <a:pt x="10279393" y="2676667"/>
                  <a:pt x="10283679" y="2675599"/>
                </a:cubicBezTo>
                <a:cubicBezTo>
                  <a:pt x="10287965" y="2674532"/>
                  <a:pt x="10290471" y="2673816"/>
                  <a:pt x="10291196" y="2673452"/>
                </a:cubicBezTo>
                <a:lnTo>
                  <a:pt x="10289523" y="2666144"/>
                </a:lnTo>
                <a:cubicBezTo>
                  <a:pt x="10288582" y="2666475"/>
                  <a:pt x="10286964" y="2666914"/>
                  <a:pt x="10284668" y="2667460"/>
                </a:cubicBezTo>
                <a:cubicBezTo>
                  <a:pt x="10282372" y="2668006"/>
                  <a:pt x="10279873" y="2668501"/>
                  <a:pt x="10277169" y="2668945"/>
                </a:cubicBezTo>
                <a:cubicBezTo>
                  <a:pt x="10274466" y="2669389"/>
                  <a:pt x="10272033" y="2669625"/>
                  <a:pt x="10269871" y="2669651"/>
                </a:cubicBezTo>
                <a:cubicBezTo>
                  <a:pt x="10263625" y="2669776"/>
                  <a:pt x="10258093" y="2668984"/>
                  <a:pt x="10253275" y="2667274"/>
                </a:cubicBezTo>
                <a:cubicBezTo>
                  <a:pt x="10248457" y="2665563"/>
                  <a:pt x="10244631" y="2662184"/>
                  <a:pt x="10241795" y="2657136"/>
                </a:cubicBezTo>
                <a:cubicBezTo>
                  <a:pt x="10238959" y="2652088"/>
                  <a:pt x="10237391" y="2644620"/>
                  <a:pt x="10237091" y="2634733"/>
                </a:cubicBezTo>
                <a:lnTo>
                  <a:pt x="10292260" y="2634733"/>
                </a:lnTo>
                <a:lnTo>
                  <a:pt x="10292260" y="2631693"/>
                </a:lnTo>
                <a:cubicBezTo>
                  <a:pt x="10292277" y="2617496"/>
                  <a:pt x="10289962" y="2607026"/>
                  <a:pt x="10285315" y="2600283"/>
                </a:cubicBezTo>
                <a:cubicBezTo>
                  <a:pt x="10280669" y="2593540"/>
                  <a:pt x="10273589" y="2590196"/>
                  <a:pt x="10264077" y="2590251"/>
                </a:cubicBezTo>
                <a:close/>
                <a:moveTo>
                  <a:pt x="9856568" y="2575316"/>
                </a:moveTo>
                <a:lnTo>
                  <a:pt x="9856568" y="2592537"/>
                </a:lnTo>
                <a:lnTo>
                  <a:pt x="9844376" y="2592537"/>
                </a:lnTo>
                <a:lnTo>
                  <a:pt x="9844376" y="2600443"/>
                </a:lnTo>
                <a:lnTo>
                  <a:pt x="9856568" y="2600443"/>
                </a:lnTo>
                <a:lnTo>
                  <a:pt x="9856568" y="2653223"/>
                </a:lnTo>
                <a:cubicBezTo>
                  <a:pt x="9856611" y="2660845"/>
                  <a:pt x="9857759" y="2666369"/>
                  <a:pt x="9860011" y="2669795"/>
                </a:cubicBezTo>
                <a:cubicBezTo>
                  <a:pt x="9862264" y="2673220"/>
                  <a:pt x="9865364" y="2675353"/>
                  <a:pt x="9869310" y="2676193"/>
                </a:cubicBezTo>
                <a:cubicBezTo>
                  <a:pt x="9873256" y="2677033"/>
                  <a:pt x="9877791" y="2677386"/>
                  <a:pt x="9882914" y="2677252"/>
                </a:cubicBezTo>
                <a:cubicBezTo>
                  <a:pt x="9885549" y="2677186"/>
                  <a:pt x="9888165" y="2676825"/>
                  <a:pt x="9890762" y="2676169"/>
                </a:cubicBezTo>
                <a:cubicBezTo>
                  <a:pt x="9893359" y="2675513"/>
                  <a:pt x="9895214" y="2674962"/>
                  <a:pt x="9896325" y="2674516"/>
                </a:cubicBezTo>
                <a:lnTo>
                  <a:pt x="9894191" y="2667065"/>
                </a:lnTo>
                <a:cubicBezTo>
                  <a:pt x="9892978" y="2667499"/>
                  <a:pt x="9891289" y="2668000"/>
                  <a:pt x="9889124" y="2668567"/>
                </a:cubicBezTo>
                <a:cubicBezTo>
                  <a:pt x="9886959" y="2669134"/>
                  <a:pt x="9884736" y="2669445"/>
                  <a:pt x="9882456" y="2669499"/>
                </a:cubicBezTo>
                <a:cubicBezTo>
                  <a:pt x="9875586" y="2669679"/>
                  <a:pt x="9870887" y="2668672"/>
                  <a:pt x="9868359" y="2666476"/>
                </a:cubicBezTo>
                <a:cubicBezTo>
                  <a:pt x="9865832" y="2664280"/>
                  <a:pt x="9864638" y="2659811"/>
                  <a:pt x="9864778" y="2653071"/>
                </a:cubicBezTo>
                <a:lnTo>
                  <a:pt x="9864778" y="2600443"/>
                </a:lnTo>
                <a:lnTo>
                  <a:pt x="9890838" y="2600443"/>
                </a:lnTo>
                <a:lnTo>
                  <a:pt x="9890838" y="2592537"/>
                </a:lnTo>
                <a:lnTo>
                  <a:pt x="9864626" y="2592537"/>
                </a:lnTo>
                <a:lnTo>
                  <a:pt x="9864626" y="2575316"/>
                </a:lnTo>
                <a:close/>
                <a:moveTo>
                  <a:pt x="9794455" y="2566476"/>
                </a:moveTo>
                <a:cubicBezTo>
                  <a:pt x="9785934" y="2566485"/>
                  <a:pt x="9778854" y="2568597"/>
                  <a:pt x="9773216" y="2572811"/>
                </a:cubicBezTo>
                <a:cubicBezTo>
                  <a:pt x="9767578" y="2577026"/>
                  <a:pt x="9764654" y="2583291"/>
                  <a:pt x="9764442" y="2591607"/>
                </a:cubicBezTo>
                <a:cubicBezTo>
                  <a:pt x="9764583" y="2598485"/>
                  <a:pt x="9766422" y="2604009"/>
                  <a:pt x="9769957" y="2608179"/>
                </a:cubicBezTo>
                <a:cubicBezTo>
                  <a:pt x="9773493" y="2612350"/>
                  <a:pt x="9777877" y="2615789"/>
                  <a:pt x="9783110" y="2618496"/>
                </a:cubicBezTo>
                <a:cubicBezTo>
                  <a:pt x="9788343" y="2621203"/>
                  <a:pt x="9793576" y="2623800"/>
                  <a:pt x="9798809" y="2626288"/>
                </a:cubicBezTo>
                <a:cubicBezTo>
                  <a:pt x="9804041" y="2628776"/>
                  <a:pt x="9808426" y="2631775"/>
                  <a:pt x="9811961" y="2635287"/>
                </a:cubicBezTo>
                <a:cubicBezTo>
                  <a:pt x="9815497" y="2638799"/>
                  <a:pt x="9817335" y="2643445"/>
                  <a:pt x="9817477" y="2649226"/>
                </a:cubicBezTo>
                <a:cubicBezTo>
                  <a:pt x="9817352" y="2654463"/>
                  <a:pt x="9815823" y="2658537"/>
                  <a:pt x="9812892" y="2661448"/>
                </a:cubicBezTo>
                <a:cubicBezTo>
                  <a:pt x="9809960" y="2664359"/>
                  <a:pt x="9806376" y="2666390"/>
                  <a:pt x="9802140" y="2667540"/>
                </a:cubicBezTo>
                <a:cubicBezTo>
                  <a:pt x="9797904" y="2668690"/>
                  <a:pt x="9793767" y="2669241"/>
                  <a:pt x="9789728" y="2669194"/>
                </a:cubicBezTo>
                <a:cubicBezTo>
                  <a:pt x="9784897" y="2669172"/>
                  <a:pt x="9780495" y="2668645"/>
                  <a:pt x="9776524" y="2667612"/>
                </a:cubicBezTo>
                <a:cubicBezTo>
                  <a:pt x="9772552" y="2666580"/>
                  <a:pt x="9768728" y="2665177"/>
                  <a:pt x="9765050" y="2663402"/>
                </a:cubicBezTo>
                <a:lnTo>
                  <a:pt x="9761699" y="2671171"/>
                </a:lnTo>
                <a:cubicBezTo>
                  <a:pt x="9764381" y="2672694"/>
                  <a:pt x="9767882" y="2674094"/>
                  <a:pt x="9772203" y="2675371"/>
                </a:cubicBezTo>
                <a:cubicBezTo>
                  <a:pt x="9776524" y="2676647"/>
                  <a:pt x="9782468" y="2677325"/>
                  <a:pt x="9790033" y="2677405"/>
                </a:cubicBezTo>
                <a:cubicBezTo>
                  <a:pt x="9800476" y="2677440"/>
                  <a:pt x="9809049" y="2675087"/>
                  <a:pt x="9815750" y="2670346"/>
                </a:cubicBezTo>
                <a:cubicBezTo>
                  <a:pt x="9822452" y="2665604"/>
                  <a:pt x="9825917" y="2658259"/>
                  <a:pt x="9826145" y="2648311"/>
                </a:cubicBezTo>
                <a:cubicBezTo>
                  <a:pt x="9826002" y="2641484"/>
                  <a:pt x="9824148" y="2635932"/>
                  <a:pt x="9820581" y="2631653"/>
                </a:cubicBezTo>
                <a:cubicBezTo>
                  <a:pt x="9817015" y="2627375"/>
                  <a:pt x="9812593" y="2623810"/>
                  <a:pt x="9807315" y="2620959"/>
                </a:cubicBezTo>
                <a:cubicBezTo>
                  <a:pt x="9802037" y="2618107"/>
                  <a:pt x="9796760" y="2615408"/>
                  <a:pt x="9791482" y="2612862"/>
                </a:cubicBezTo>
                <a:cubicBezTo>
                  <a:pt x="9786204" y="2610315"/>
                  <a:pt x="9781782" y="2607360"/>
                  <a:pt x="9778215" y="2603997"/>
                </a:cubicBezTo>
                <a:cubicBezTo>
                  <a:pt x="9774649" y="2600633"/>
                  <a:pt x="9772795" y="2596300"/>
                  <a:pt x="9772652" y="2590997"/>
                </a:cubicBezTo>
                <a:cubicBezTo>
                  <a:pt x="9772824" y="2584957"/>
                  <a:pt x="9774996" y="2580613"/>
                  <a:pt x="9779170" y="2577964"/>
                </a:cubicBezTo>
                <a:cubicBezTo>
                  <a:pt x="9783344" y="2575316"/>
                  <a:pt x="9788490" y="2574020"/>
                  <a:pt x="9794607" y="2574077"/>
                </a:cubicBezTo>
                <a:cubicBezTo>
                  <a:pt x="9799397" y="2574106"/>
                  <a:pt x="9803463" y="2574506"/>
                  <a:pt x="9806804" y="2575278"/>
                </a:cubicBezTo>
                <a:cubicBezTo>
                  <a:pt x="9810146" y="2576050"/>
                  <a:pt x="9813297" y="2577021"/>
                  <a:pt x="9816257" y="2578193"/>
                </a:cubicBezTo>
                <a:lnTo>
                  <a:pt x="9818693" y="2571189"/>
                </a:lnTo>
                <a:cubicBezTo>
                  <a:pt x="9815770" y="2569862"/>
                  <a:pt x="9812359" y="2568753"/>
                  <a:pt x="9808462" y="2567864"/>
                </a:cubicBezTo>
                <a:cubicBezTo>
                  <a:pt x="9804565" y="2566974"/>
                  <a:pt x="9799896" y="2566511"/>
                  <a:pt x="9794455" y="2566476"/>
                </a:cubicBezTo>
                <a:close/>
                <a:moveTo>
                  <a:pt x="10015514" y="2566324"/>
                </a:moveTo>
                <a:cubicBezTo>
                  <a:pt x="10004052" y="2566415"/>
                  <a:pt x="9994322" y="2568856"/>
                  <a:pt x="9986324" y="2573647"/>
                </a:cubicBezTo>
                <a:cubicBezTo>
                  <a:pt x="9978326" y="2578437"/>
                  <a:pt x="9972234" y="2585032"/>
                  <a:pt x="9968047" y="2593430"/>
                </a:cubicBezTo>
                <a:cubicBezTo>
                  <a:pt x="9963860" y="2601828"/>
                  <a:pt x="9961752" y="2611484"/>
                  <a:pt x="9961724" y="2622398"/>
                </a:cubicBezTo>
                <a:cubicBezTo>
                  <a:pt x="9961744" y="2632674"/>
                  <a:pt x="9963852" y="2641944"/>
                  <a:pt x="9968047" y="2650208"/>
                </a:cubicBezTo>
                <a:cubicBezTo>
                  <a:pt x="9972242" y="2658472"/>
                  <a:pt x="9978402" y="2665042"/>
                  <a:pt x="9986527" y="2669918"/>
                </a:cubicBezTo>
                <a:cubicBezTo>
                  <a:pt x="9994652" y="2674795"/>
                  <a:pt x="10004619" y="2677290"/>
                  <a:pt x="10016429" y="2677405"/>
                </a:cubicBezTo>
                <a:cubicBezTo>
                  <a:pt x="10023826" y="2677373"/>
                  <a:pt x="10029954" y="2676942"/>
                  <a:pt x="10034814" y="2676112"/>
                </a:cubicBezTo>
                <a:cubicBezTo>
                  <a:pt x="10039674" y="2675282"/>
                  <a:pt x="10044158" y="2674243"/>
                  <a:pt x="10048268" y="2672996"/>
                </a:cubicBezTo>
                <a:lnTo>
                  <a:pt x="10048268" y="2622703"/>
                </a:lnTo>
                <a:lnTo>
                  <a:pt x="10039295" y="2622703"/>
                </a:lnTo>
                <a:lnTo>
                  <a:pt x="10039295" y="2666907"/>
                </a:lnTo>
                <a:cubicBezTo>
                  <a:pt x="10037123" y="2667482"/>
                  <a:pt x="10034417" y="2668047"/>
                  <a:pt x="10031177" y="2668603"/>
                </a:cubicBezTo>
                <a:cubicBezTo>
                  <a:pt x="10027938" y="2669159"/>
                  <a:pt x="10023936" y="2669457"/>
                  <a:pt x="10019172" y="2669499"/>
                </a:cubicBezTo>
                <a:cubicBezTo>
                  <a:pt x="10010421" y="2669534"/>
                  <a:pt x="10002432" y="2667872"/>
                  <a:pt x="9995205" y="2664514"/>
                </a:cubicBezTo>
                <a:cubicBezTo>
                  <a:pt x="9987978" y="2661156"/>
                  <a:pt x="9982191" y="2655892"/>
                  <a:pt x="9977844" y="2648723"/>
                </a:cubicBezTo>
                <a:cubicBezTo>
                  <a:pt x="9973496" y="2641554"/>
                  <a:pt x="9971266" y="2632271"/>
                  <a:pt x="9971153" y="2620874"/>
                </a:cubicBezTo>
                <a:cubicBezTo>
                  <a:pt x="9971275" y="2609744"/>
                  <a:pt x="9973420" y="2600772"/>
                  <a:pt x="9977590" y="2593955"/>
                </a:cubicBezTo>
                <a:cubicBezTo>
                  <a:pt x="9981759" y="2587139"/>
                  <a:pt x="9987225" y="2582186"/>
                  <a:pt x="9993986" y="2579096"/>
                </a:cubicBezTo>
                <a:cubicBezTo>
                  <a:pt x="10000747" y="2576006"/>
                  <a:pt x="10008075" y="2574486"/>
                  <a:pt x="10015971" y="2574535"/>
                </a:cubicBezTo>
                <a:cubicBezTo>
                  <a:pt x="10023990" y="2574633"/>
                  <a:pt x="10030094" y="2575236"/>
                  <a:pt x="10034282" y="2576345"/>
                </a:cubicBezTo>
                <a:cubicBezTo>
                  <a:pt x="10038470" y="2577453"/>
                  <a:pt x="10041561" y="2578476"/>
                  <a:pt x="10043553" y="2579412"/>
                </a:cubicBezTo>
                <a:lnTo>
                  <a:pt x="10046291" y="2571494"/>
                </a:lnTo>
                <a:cubicBezTo>
                  <a:pt x="10044802" y="2570746"/>
                  <a:pt x="10041770" y="2569732"/>
                  <a:pt x="10037193" y="2568453"/>
                </a:cubicBezTo>
                <a:cubicBezTo>
                  <a:pt x="10032617" y="2567173"/>
                  <a:pt x="10025391" y="2566463"/>
                  <a:pt x="10015514" y="2566324"/>
                </a:cubicBezTo>
                <a:close/>
                <a:moveTo>
                  <a:pt x="10196419" y="2560685"/>
                </a:moveTo>
                <a:lnTo>
                  <a:pt x="10196419" y="2675576"/>
                </a:lnTo>
                <a:lnTo>
                  <a:pt x="10204782" y="2675576"/>
                </a:lnTo>
                <a:lnTo>
                  <a:pt x="10204782" y="2560685"/>
                </a:lnTo>
                <a:close/>
                <a:moveTo>
                  <a:pt x="10158320" y="2560685"/>
                </a:moveTo>
                <a:lnTo>
                  <a:pt x="10158320" y="2675576"/>
                </a:lnTo>
                <a:lnTo>
                  <a:pt x="10166682" y="2675576"/>
                </a:lnTo>
                <a:lnTo>
                  <a:pt x="10166682" y="2560685"/>
                </a:lnTo>
                <a:close/>
                <a:moveTo>
                  <a:pt x="10068556" y="2434862"/>
                </a:moveTo>
                <a:lnTo>
                  <a:pt x="10068556" y="2458800"/>
                </a:lnTo>
                <a:cubicBezTo>
                  <a:pt x="10068100" y="2459269"/>
                  <a:pt x="10066453" y="2460363"/>
                  <a:pt x="10063615" y="2462081"/>
                </a:cubicBezTo>
                <a:cubicBezTo>
                  <a:pt x="10060776" y="2463799"/>
                  <a:pt x="10057345" y="2465457"/>
                  <a:pt x="10053320" y="2467057"/>
                </a:cubicBezTo>
                <a:cubicBezTo>
                  <a:pt x="10049296" y="2468656"/>
                  <a:pt x="10045277" y="2469512"/>
                  <a:pt x="10041264" y="2469626"/>
                </a:cubicBezTo>
                <a:cubicBezTo>
                  <a:pt x="10036036" y="2469715"/>
                  <a:pt x="10031970" y="2468470"/>
                  <a:pt x="10029067" y="2465890"/>
                </a:cubicBezTo>
                <a:cubicBezTo>
                  <a:pt x="10026164" y="2463311"/>
                  <a:pt x="10024690" y="2458863"/>
                  <a:pt x="10024646" y="2452548"/>
                </a:cubicBezTo>
                <a:cubicBezTo>
                  <a:pt x="10024646" y="2447884"/>
                  <a:pt x="10026475" y="2444021"/>
                  <a:pt x="10030134" y="2440959"/>
                </a:cubicBezTo>
                <a:cubicBezTo>
                  <a:pt x="10033794" y="2437896"/>
                  <a:pt x="10039282" y="2436168"/>
                  <a:pt x="10046601" y="2435774"/>
                </a:cubicBezTo>
                <a:close/>
                <a:moveTo>
                  <a:pt x="9897106" y="2434862"/>
                </a:moveTo>
                <a:lnTo>
                  <a:pt x="9897106" y="2458800"/>
                </a:lnTo>
                <a:cubicBezTo>
                  <a:pt x="9896650" y="2459269"/>
                  <a:pt x="9895003" y="2460363"/>
                  <a:pt x="9892165" y="2462081"/>
                </a:cubicBezTo>
                <a:cubicBezTo>
                  <a:pt x="9889326" y="2463799"/>
                  <a:pt x="9885895" y="2465457"/>
                  <a:pt x="9881870" y="2467057"/>
                </a:cubicBezTo>
                <a:cubicBezTo>
                  <a:pt x="9877846" y="2468656"/>
                  <a:pt x="9873827" y="2469512"/>
                  <a:pt x="9869814" y="2469626"/>
                </a:cubicBezTo>
                <a:cubicBezTo>
                  <a:pt x="9864586" y="2469715"/>
                  <a:pt x="9860520" y="2468470"/>
                  <a:pt x="9857617" y="2465890"/>
                </a:cubicBezTo>
                <a:cubicBezTo>
                  <a:pt x="9854714" y="2463311"/>
                  <a:pt x="9853240" y="2458863"/>
                  <a:pt x="9853196" y="2452548"/>
                </a:cubicBezTo>
                <a:cubicBezTo>
                  <a:pt x="9853196" y="2447884"/>
                  <a:pt x="9855025" y="2444021"/>
                  <a:pt x="9858684" y="2440959"/>
                </a:cubicBezTo>
                <a:cubicBezTo>
                  <a:pt x="9862344" y="2437896"/>
                  <a:pt x="9867832" y="2436168"/>
                  <a:pt x="9875151" y="2435774"/>
                </a:cubicBezTo>
                <a:close/>
                <a:moveTo>
                  <a:pt x="10313989" y="2397522"/>
                </a:moveTo>
                <a:cubicBezTo>
                  <a:pt x="10318392" y="2397551"/>
                  <a:pt x="10321936" y="2397760"/>
                  <a:pt x="10324623" y="2398151"/>
                </a:cubicBezTo>
                <a:cubicBezTo>
                  <a:pt x="10327311" y="2398542"/>
                  <a:pt x="10329712" y="2398942"/>
                  <a:pt x="10331827" y="2399352"/>
                </a:cubicBezTo>
                <a:lnTo>
                  <a:pt x="10331827" y="2460327"/>
                </a:lnTo>
                <a:cubicBezTo>
                  <a:pt x="10330150" y="2461969"/>
                  <a:pt x="10327673" y="2463830"/>
                  <a:pt x="10324395" y="2465911"/>
                </a:cubicBezTo>
                <a:cubicBezTo>
                  <a:pt x="10321117" y="2467991"/>
                  <a:pt x="10317038" y="2469128"/>
                  <a:pt x="10312160" y="2469321"/>
                </a:cubicBezTo>
                <a:cubicBezTo>
                  <a:pt x="10302945" y="2469413"/>
                  <a:pt x="10296065" y="2466714"/>
                  <a:pt x="10291520" y="2461223"/>
                </a:cubicBezTo>
                <a:cubicBezTo>
                  <a:pt x="10286975" y="2455732"/>
                  <a:pt x="10284707" y="2446897"/>
                  <a:pt x="10284716" y="2434718"/>
                </a:cubicBezTo>
                <a:cubicBezTo>
                  <a:pt x="10284677" y="2427924"/>
                  <a:pt x="10285603" y="2421728"/>
                  <a:pt x="10287495" y="2416131"/>
                </a:cubicBezTo>
                <a:cubicBezTo>
                  <a:pt x="10289386" y="2410534"/>
                  <a:pt x="10292481" y="2406055"/>
                  <a:pt x="10296778" y="2402694"/>
                </a:cubicBezTo>
                <a:cubicBezTo>
                  <a:pt x="10301075" y="2399332"/>
                  <a:pt x="10306812" y="2397609"/>
                  <a:pt x="10313989" y="2397522"/>
                </a:cubicBezTo>
                <a:close/>
                <a:moveTo>
                  <a:pt x="10142539" y="2397522"/>
                </a:moveTo>
                <a:cubicBezTo>
                  <a:pt x="10146941" y="2397551"/>
                  <a:pt x="10150486" y="2397760"/>
                  <a:pt x="10153173" y="2398151"/>
                </a:cubicBezTo>
                <a:cubicBezTo>
                  <a:pt x="10155860" y="2398542"/>
                  <a:pt x="10158262" y="2398942"/>
                  <a:pt x="10160377" y="2399352"/>
                </a:cubicBezTo>
                <a:lnTo>
                  <a:pt x="10160377" y="2460327"/>
                </a:lnTo>
                <a:cubicBezTo>
                  <a:pt x="10158700" y="2461969"/>
                  <a:pt x="10156223" y="2463830"/>
                  <a:pt x="10152945" y="2465911"/>
                </a:cubicBezTo>
                <a:cubicBezTo>
                  <a:pt x="10149667" y="2467991"/>
                  <a:pt x="10145588" y="2469128"/>
                  <a:pt x="10140710" y="2469321"/>
                </a:cubicBezTo>
                <a:cubicBezTo>
                  <a:pt x="10131495" y="2469413"/>
                  <a:pt x="10124615" y="2466714"/>
                  <a:pt x="10120070" y="2461223"/>
                </a:cubicBezTo>
                <a:cubicBezTo>
                  <a:pt x="10115525" y="2455732"/>
                  <a:pt x="10113257" y="2446897"/>
                  <a:pt x="10113266" y="2434718"/>
                </a:cubicBezTo>
                <a:cubicBezTo>
                  <a:pt x="10113227" y="2427924"/>
                  <a:pt x="10114153" y="2421728"/>
                  <a:pt x="10116045" y="2416131"/>
                </a:cubicBezTo>
                <a:cubicBezTo>
                  <a:pt x="10117936" y="2410534"/>
                  <a:pt x="10121031" y="2406055"/>
                  <a:pt x="10125328" y="2402694"/>
                </a:cubicBezTo>
                <a:cubicBezTo>
                  <a:pt x="10129625" y="2399332"/>
                  <a:pt x="10135362" y="2397609"/>
                  <a:pt x="10142539" y="2397522"/>
                </a:cubicBezTo>
                <a:close/>
                <a:moveTo>
                  <a:pt x="10912385" y="2397370"/>
                </a:moveTo>
                <a:cubicBezTo>
                  <a:pt x="10919729" y="2397528"/>
                  <a:pt x="10925385" y="2399515"/>
                  <a:pt x="10929353" y="2403332"/>
                </a:cubicBezTo>
                <a:cubicBezTo>
                  <a:pt x="10933320" y="2407148"/>
                  <a:pt x="10936051" y="2411846"/>
                  <a:pt x="10937546" y="2417424"/>
                </a:cubicBezTo>
                <a:cubicBezTo>
                  <a:pt x="10939040" y="2423002"/>
                  <a:pt x="10939750" y="2428513"/>
                  <a:pt x="10939674" y="2433955"/>
                </a:cubicBezTo>
                <a:cubicBezTo>
                  <a:pt x="10939742" y="2439778"/>
                  <a:pt x="10939014" y="2445443"/>
                  <a:pt x="10937489" y="2450949"/>
                </a:cubicBezTo>
                <a:cubicBezTo>
                  <a:pt x="10935965" y="2456456"/>
                  <a:pt x="10933237" y="2461014"/>
                  <a:pt x="10929308" y="2464624"/>
                </a:cubicBezTo>
                <a:cubicBezTo>
                  <a:pt x="10925378" y="2468233"/>
                  <a:pt x="10919839" y="2470104"/>
                  <a:pt x="10912690" y="2470236"/>
                </a:cubicBezTo>
                <a:cubicBezTo>
                  <a:pt x="10905627" y="2470126"/>
                  <a:pt x="10900054" y="2468347"/>
                  <a:pt x="10895971" y="2464900"/>
                </a:cubicBezTo>
                <a:cubicBezTo>
                  <a:pt x="10891889" y="2461454"/>
                  <a:pt x="10888992" y="2456999"/>
                  <a:pt x="10887281" y="2451537"/>
                </a:cubicBezTo>
                <a:cubicBezTo>
                  <a:pt x="10885571" y="2446074"/>
                  <a:pt x="10884741" y="2440264"/>
                  <a:pt x="10884791" y="2434108"/>
                </a:cubicBezTo>
                <a:cubicBezTo>
                  <a:pt x="10884725" y="2428519"/>
                  <a:pt x="10885484" y="2422928"/>
                  <a:pt x="10887067" y="2417334"/>
                </a:cubicBezTo>
                <a:cubicBezTo>
                  <a:pt x="10888650" y="2411739"/>
                  <a:pt x="10891452" y="2407051"/>
                  <a:pt x="10895474" y="2403270"/>
                </a:cubicBezTo>
                <a:cubicBezTo>
                  <a:pt x="10899496" y="2399488"/>
                  <a:pt x="10905133" y="2397521"/>
                  <a:pt x="10912385" y="2397370"/>
                </a:cubicBezTo>
                <a:close/>
                <a:moveTo>
                  <a:pt x="10226585" y="2397370"/>
                </a:moveTo>
                <a:cubicBezTo>
                  <a:pt x="10233929" y="2397528"/>
                  <a:pt x="10239585" y="2399515"/>
                  <a:pt x="10243553" y="2403332"/>
                </a:cubicBezTo>
                <a:cubicBezTo>
                  <a:pt x="10247520" y="2407148"/>
                  <a:pt x="10250251" y="2411846"/>
                  <a:pt x="10251746" y="2417424"/>
                </a:cubicBezTo>
                <a:cubicBezTo>
                  <a:pt x="10253240" y="2423002"/>
                  <a:pt x="10253950" y="2428513"/>
                  <a:pt x="10253874" y="2433955"/>
                </a:cubicBezTo>
                <a:cubicBezTo>
                  <a:pt x="10253942" y="2439778"/>
                  <a:pt x="10253214" y="2445443"/>
                  <a:pt x="10251689" y="2450949"/>
                </a:cubicBezTo>
                <a:cubicBezTo>
                  <a:pt x="10250165" y="2456456"/>
                  <a:pt x="10247437" y="2461014"/>
                  <a:pt x="10243508" y="2464624"/>
                </a:cubicBezTo>
                <a:cubicBezTo>
                  <a:pt x="10239578" y="2468233"/>
                  <a:pt x="10234039" y="2470104"/>
                  <a:pt x="10226890" y="2470236"/>
                </a:cubicBezTo>
                <a:cubicBezTo>
                  <a:pt x="10219827" y="2470126"/>
                  <a:pt x="10214254" y="2468347"/>
                  <a:pt x="10210171" y="2464900"/>
                </a:cubicBezTo>
                <a:cubicBezTo>
                  <a:pt x="10206089" y="2461454"/>
                  <a:pt x="10203192" y="2456999"/>
                  <a:pt x="10201481" y="2451537"/>
                </a:cubicBezTo>
                <a:cubicBezTo>
                  <a:pt x="10199771" y="2446074"/>
                  <a:pt x="10198941" y="2440264"/>
                  <a:pt x="10198991" y="2434108"/>
                </a:cubicBezTo>
                <a:cubicBezTo>
                  <a:pt x="10198925" y="2428519"/>
                  <a:pt x="10199684" y="2422928"/>
                  <a:pt x="10201267" y="2417334"/>
                </a:cubicBezTo>
                <a:cubicBezTo>
                  <a:pt x="10202850" y="2411739"/>
                  <a:pt x="10205652" y="2407051"/>
                  <a:pt x="10209674" y="2403270"/>
                </a:cubicBezTo>
                <a:cubicBezTo>
                  <a:pt x="10213697" y="2399488"/>
                  <a:pt x="10219333" y="2397521"/>
                  <a:pt x="10226585" y="2397370"/>
                </a:cubicBezTo>
                <a:close/>
                <a:moveTo>
                  <a:pt x="9970936" y="2397370"/>
                </a:moveTo>
                <a:cubicBezTo>
                  <a:pt x="9975427" y="2397392"/>
                  <a:pt x="9979061" y="2397690"/>
                  <a:pt x="9981837" y="2398265"/>
                </a:cubicBezTo>
                <a:cubicBezTo>
                  <a:pt x="9984613" y="2398840"/>
                  <a:pt x="9987027" y="2399558"/>
                  <a:pt x="9989079" y="2400419"/>
                </a:cubicBezTo>
                <a:lnTo>
                  <a:pt x="9989079" y="2458803"/>
                </a:lnTo>
                <a:cubicBezTo>
                  <a:pt x="9987970" y="2459850"/>
                  <a:pt x="9986276" y="2461228"/>
                  <a:pt x="9983997" y="2462936"/>
                </a:cubicBezTo>
                <a:cubicBezTo>
                  <a:pt x="9981719" y="2464644"/>
                  <a:pt x="9979110" y="2466191"/>
                  <a:pt x="9976171" y="2467577"/>
                </a:cubicBezTo>
                <a:cubicBezTo>
                  <a:pt x="9973232" y="2468963"/>
                  <a:pt x="9970216" y="2469697"/>
                  <a:pt x="9967125" y="2469779"/>
                </a:cubicBezTo>
                <a:cubicBezTo>
                  <a:pt x="9959400" y="2469823"/>
                  <a:pt x="9953276" y="2467028"/>
                  <a:pt x="9948753" y="2461394"/>
                </a:cubicBezTo>
                <a:cubicBezTo>
                  <a:pt x="9944230" y="2455760"/>
                  <a:pt x="9941918" y="2447021"/>
                  <a:pt x="9941816" y="2435175"/>
                </a:cubicBezTo>
                <a:cubicBezTo>
                  <a:pt x="9941781" y="2428949"/>
                  <a:pt x="9942716" y="2422972"/>
                  <a:pt x="9944623" y="2417243"/>
                </a:cubicBezTo>
                <a:cubicBezTo>
                  <a:pt x="9946529" y="2411515"/>
                  <a:pt x="9949622" y="2406802"/>
                  <a:pt x="9953900" y="2403106"/>
                </a:cubicBezTo>
                <a:cubicBezTo>
                  <a:pt x="9958179" y="2399410"/>
                  <a:pt x="9963857" y="2397497"/>
                  <a:pt x="9970936" y="2397370"/>
                </a:cubicBezTo>
                <a:close/>
                <a:moveTo>
                  <a:pt x="11538598" y="2396760"/>
                </a:moveTo>
                <a:cubicBezTo>
                  <a:pt x="11545811" y="2396877"/>
                  <a:pt x="11551128" y="2399692"/>
                  <a:pt x="11554549" y="2405204"/>
                </a:cubicBezTo>
                <a:cubicBezTo>
                  <a:pt x="11557970" y="2410716"/>
                  <a:pt x="11559666" y="2418220"/>
                  <a:pt x="11559637" y="2427716"/>
                </a:cubicBezTo>
                <a:lnTo>
                  <a:pt x="11513441" y="2427716"/>
                </a:lnTo>
                <a:cubicBezTo>
                  <a:pt x="11514375" y="2417353"/>
                  <a:pt x="11517081" y="2409601"/>
                  <a:pt x="11521560" y="2404461"/>
                </a:cubicBezTo>
                <a:cubicBezTo>
                  <a:pt x="11526039" y="2399321"/>
                  <a:pt x="11531718" y="2396754"/>
                  <a:pt x="11538598" y="2396760"/>
                </a:cubicBezTo>
                <a:close/>
                <a:moveTo>
                  <a:pt x="10671823" y="2396760"/>
                </a:moveTo>
                <a:cubicBezTo>
                  <a:pt x="10679036" y="2396877"/>
                  <a:pt x="10684353" y="2399692"/>
                  <a:pt x="10687774" y="2405204"/>
                </a:cubicBezTo>
                <a:cubicBezTo>
                  <a:pt x="10691195" y="2410716"/>
                  <a:pt x="10692891" y="2418220"/>
                  <a:pt x="10692863" y="2427716"/>
                </a:cubicBezTo>
                <a:lnTo>
                  <a:pt x="10646666" y="2427716"/>
                </a:lnTo>
                <a:cubicBezTo>
                  <a:pt x="10647600" y="2417353"/>
                  <a:pt x="10650306" y="2409601"/>
                  <a:pt x="10654785" y="2404461"/>
                </a:cubicBezTo>
                <a:cubicBezTo>
                  <a:pt x="10659264" y="2399321"/>
                  <a:pt x="10664943" y="2396754"/>
                  <a:pt x="10671823" y="2396760"/>
                </a:cubicBezTo>
                <a:close/>
                <a:moveTo>
                  <a:pt x="11376757" y="2392512"/>
                </a:moveTo>
                <a:lnTo>
                  <a:pt x="11376757" y="2445898"/>
                </a:lnTo>
                <a:cubicBezTo>
                  <a:pt x="11376636" y="2450357"/>
                  <a:pt x="11377048" y="2454993"/>
                  <a:pt x="11377992" y="2459806"/>
                </a:cubicBezTo>
                <a:cubicBezTo>
                  <a:pt x="11378937" y="2464619"/>
                  <a:pt x="11381143" y="2468714"/>
                  <a:pt x="11384609" y="2472091"/>
                </a:cubicBezTo>
                <a:cubicBezTo>
                  <a:pt x="11388076" y="2475467"/>
                  <a:pt x="11393532" y="2477230"/>
                  <a:pt x="11400977" y="2477380"/>
                </a:cubicBezTo>
                <a:cubicBezTo>
                  <a:pt x="11407882" y="2477142"/>
                  <a:pt x="11413815" y="2475679"/>
                  <a:pt x="11418777" y="2472989"/>
                </a:cubicBezTo>
                <a:cubicBezTo>
                  <a:pt x="11423738" y="2470300"/>
                  <a:pt x="11427918" y="2467810"/>
                  <a:pt x="11431317" y="2465519"/>
                </a:cubicBezTo>
                <a:lnTo>
                  <a:pt x="11431317" y="2475551"/>
                </a:lnTo>
                <a:lnTo>
                  <a:pt x="11439223" y="2475551"/>
                </a:lnTo>
                <a:lnTo>
                  <a:pt x="11439223" y="2392512"/>
                </a:lnTo>
                <a:lnTo>
                  <a:pt x="11431317" y="2392512"/>
                </a:lnTo>
                <a:lnTo>
                  <a:pt x="11431317" y="2457452"/>
                </a:lnTo>
                <a:cubicBezTo>
                  <a:pt x="11430066" y="2458319"/>
                  <a:pt x="11427892" y="2459683"/>
                  <a:pt x="11424795" y="2461546"/>
                </a:cubicBezTo>
                <a:cubicBezTo>
                  <a:pt x="11421697" y="2463408"/>
                  <a:pt x="11418168" y="2465144"/>
                  <a:pt x="11414207" y="2466752"/>
                </a:cubicBezTo>
                <a:cubicBezTo>
                  <a:pt x="11410246" y="2468361"/>
                  <a:pt x="11406344" y="2469217"/>
                  <a:pt x="11402501" y="2469321"/>
                </a:cubicBezTo>
                <a:cubicBezTo>
                  <a:pt x="11396911" y="2469251"/>
                  <a:pt x="11392879" y="2468006"/>
                  <a:pt x="11390406" y="2465587"/>
                </a:cubicBezTo>
                <a:cubicBezTo>
                  <a:pt x="11387933" y="2463167"/>
                  <a:pt x="11386408" y="2459996"/>
                  <a:pt x="11385832" y="2456072"/>
                </a:cubicBezTo>
                <a:cubicBezTo>
                  <a:pt x="11385256" y="2452148"/>
                  <a:pt x="11385019" y="2447895"/>
                  <a:pt x="11385121" y="2443313"/>
                </a:cubicBezTo>
                <a:lnTo>
                  <a:pt x="11385121" y="2392512"/>
                </a:lnTo>
                <a:close/>
                <a:moveTo>
                  <a:pt x="10367717" y="2392512"/>
                </a:moveTo>
                <a:lnTo>
                  <a:pt x="10367717" y="2475551"/>
                </a:lnTo>
                <a:lnTo>
                  <a:pt x="10376385" y="2475551"/>
                </a:lnTo>
                <a:lnTo>
                  <a:pt x="10376385" y="2392512"/>
                </a:lnTo>
                <a:close/>
                <a:moveTo>
                  <a:pt x="10048888" y="2390378"/>
                </a:moveTo>
                <a:cubicBezTo>
                  <a:pt x="10042713" y="2390486"/>
                  <a:pt x="10037338" y="2391069"/>
                  <a:pt x="10032765" y="2392126"/>
                </a:cubicBezTo>
                <a:cubicBezTo>
                  <a:pt x="10028191" y="2393184"/>
                  <a:pt x="10025332" y="2394071"/>
                  <a:pt x="10024190" y="2394787"/>
                </a:cubicBezTo>
                <a:lnTo>
                  <a:pt x="10026018" y="2401791"/>
                </a:lnTo>
                <a:cubicBezTo>
                  <a:pt x="10027441" y="2401299"/>
                  <a:pt x="10030084" y="2400568"/>
                  <a:pt x="10033946" y="2399599"/>
                </a:cubicBezTo>
                <a:cubicBezTo>
                  <a:pt x="10037809" y="2398630"/>
                  <a:pt x="10041671" y="2398090"/>
                  <a:pt x="10045533" y="2397979"/>
                </a:cubicBezTo>
                <a:cubicBezTo>
                  <a:pt x="10053430" y="2397795"/>
                  <a:pt x="10059249" y="2398888"/>
                  <a:pt x="10062991" y="2401258"/>
                </a:cubicBezTo>
                <a:cubicBezTo>
                  <a:pt x="10066733" y="2403628"/>
                  <a:pt x="10068588" y="2408381"/>
                  <a:pt x="10068556" y="2415516"/>
                </a:cubicBezTo>
                <a:lnTo>
                  <a:pt x="10068556" y="2428173"/>
                </a:lnTo>
                <a:lnTo>
                  <a:pt x="10047363" y="2428630"/>
                </a:lnTo>
                <a:cubicBezTo>
                  <a:pt x="10042949" y="2428707"/>
                  <a:pt x="10038379" y="2429432"/>
                  <a:pt x="10033653" y="2430805"/>
                </a:cubicBezTo>
                <a:cubicBezTo>
                  <a:pt x="10028926" y="2432179"/>
                  <a:pt x="10024911" y="2434653"/>
                  <a:pt x="10021607" y="2438229"/>
                </a:cubicBezTo>
                <a:cubicBezTo>
                  <a:pt x="10018304" y="2441804"/>
                  <a:pt x="10016580" y="2446933"/>
                  <a:pt x="10016435" y="2453615"/>
                </a:cubicBezTo>
                <a:cubicBezTo>
                  <a:pt x="10016485" y="2461184"/>
                  <a:pt x="10018438" y="2466931"/>
                  <a:pt x="10022294" y="2470854"/>
                </a:cubicBezTo>
                <a:cubicBezTo>
                  <a:pt x="10026150" y="2474777"/>
                  <a:pt x="10031609" y="2476749"/>
                  <a:pt x="10038673" y="2476770"/>
                </a:cubicBezTo>
                <a:cubicBezTo>
                  <a:pt x="10044793" y="2476670"/>
                  <a:pt x="10049899" y="2475855"/>
                  <a:pt x="10053992" y="2474325"/>
                </a:cubicBezTo>
                <a:cubicBezTo>
                  <a:pt x="10058085" y="2472794"/>
                  <a:pt x="10061340" y="2471145"/>
                  <a:pt x="10063756" y="2469377"/>
                </a:cubicBezTo>
                <a:cubicBezTo>
                  <a:pt x="10066171" y="2467610"/>
                  <a:pt x="10067924" y="2466320"/>
                  <a:pt x="10069012" y="2465509"/>
                </a:cubicBezTo>
                <a:cubicBezTo>
                  <a:pt x="10069534" y="2469359"/>
                  <a:pt x="10071151" y="2472154"/>
                  <a:pt x="10073860" y="2473895"/>
                </a:cubicBezTo>
                <a:cubicBezTo>
                  <a:pt x="10076570" y="2475637"/>
                  <a:pt x="10079520" y="2476493"/>
                  <a:pt x="10082710" y="2476465"/>
                </a:cubicBezTo>
                <a:lnTo>
                  <a:pt x="10083929" y="2476465"/>
                </a:lnTo>
                <a:lnTo>
                  <a:pt x="10084691" y="2469626"/>
                </a:lnTo>
                <a:cubicBezTo>
                  <a:pt x="10082894" y="2469493"/>
                  <a:pt x="10081154" y="2468807"/>
                  <a:pt x="10079472" y="2467568"/>
                </a:cubicBezTo>
                <a:cubicBezTo>
                  <a:pt x="10077789" y="2466329"/>
                  <a:pt x="10076887" y="2463965"/>
                  <a:pt x="10076767" y="2460477"/>
                </a:cubicBezTo>
                <a:lnTo>
                  <a:pt x="10076767" y="2411704"/>
                </a:lnTo>
                <a:cubicBezTo>
                  <a:pt x="10076634" y="2403946"/>
                  <a:pt x="10074046" y="2398429"/>
                  <a:pt x="10069002" y="2395153"/>
                </a:cubicBezTo>
                <a:cubicBezTo>
                  <a:pt x="10063958" y="2391877"/>
                  <a:pt x="10057253" y="2390285"/>
                  <a:pt x="10048888" y="2390378"/>
                </a:cubicBezTo>
                <a:close/>
                <a:moveTo>
                  <a:pt x="9877438" y="2390378"/>
                </a:moveTo>
                <a:cubicBezTo>
                  <a:pt x="9871263" y="2390486"/>
                  <a:pt x="9865888" y="2391069"/>
                  <a:pt x="9861315" y="2392126"/>
                </a:cubicBezTo>
                <a:cubicBezTo>
                  <a:pt x="9856741" y="2393184"/>
                  <a:pt x="9853882" y="2394071"/>
                  <a:pt x="9852740" y="2394787"/>
                </a:cubicBezTo>
                <a:lnTo>
                  <a:pt x="9854568" y="2401791"/>
                </a:lnTo>
                <a:cubicBezTo>
                  <a:pt x="9855991" y="2401299"/>
                  <a:pt x="9858634" y="2400568"/>
                  <a:pt x="9862496" y="2399599"/>
                </a:cubicBezTo>
                <a:cubicBezTo>
                  <a:pt x="9866359" y="2398630"/>
                  <a:pt x="9870221" y="2398090"/>
                  <a:pt x="9874083" y="2397979"/>
                </a:cubicBezTo>
                <a:cubicBezTo>
                  <a:pt x="9881980" y="2397795"/>
                  <a:pt x="9887799" y="2398888"/>
                  <a:pt x="9891541" y="2401258"/>
                </a:cubicBezTo>
                <a:cubicBezTo>
                  <a:pt x="9895283" y="2403628"/>
                  <a:pt x="9897138" y="2408381"/>
                  <a:pt x="9897106" y="2415516"/>
                </a:cubicBezTo>
                <a:lnTo>
                  <a:pt x="9897106" y="2428173"/>
                </a:lnTo>
                <a:lnTo>
                  <a:pt x="9875913" y="2428630"/>
                </a:lnTo>
                <a:cubicBezTo>
                  <a:pt x="9871499" y="2428707"/>
                  <a:pt x="9866929" y="2429432"/>
                  <a:pt x="9862203" y="2430805"/>
                </a:cubicBezTo>
                <a:cubicBezTo>
                  <a:pt x="9857476" y="2432179"/>
                  <a:pt x="9853461" y="2434653"/>
                  <a:pt x="9850157" y="2438229"/>
                </a:cubicBezTo>
                <a:cubicBezTo>
                  <a:pt x="9846854" y="2441804"/>
                  <a:pt x="9845130" y="2446933"/>
                  <a:pt x="9844985" y="2453615"/>
                </a:cubicBezTo>
                <a:cubicBezTo>
                  <a:pt x="9845035" y="2461184"/>
                  <a:pt x="9846988" y="2466931"/>
                  <a:pt x="9850844" y="2470854"/>
                </a:cubicBezTo>
                <a:cubicBezTo>
                  <a:pt x="9854700" y="2474777"/>
                  <a:pt x="9860159" y="2476749"/>
                  <a:pt x="9867222" y="2476770"/>
                </a:cubicBezTo>
                <a:cubicBezTo>
                  <a:pt x="9873343" y="2476670"/>
                  <a:pt x="9878449" y="2475855"/>
                  <a:pt x="9882542" y="2474325"/>
                </a:cubicBezTo>
                <a:cubicBezTo>
                  <a:pt x="9886635" y="2472794"/>
                  <a:pt x="9889890" y="2471145"/>
                  <a:pt x="9892306" y="2469377"/>
                </a:cubicBezTo>
                <a:cubicBezTo>
                  <a:pt x="9894721" y="2467610"/>
                  <a:pt x="9896473" y="2466320"/>
                  <a:pt x="9897562" y="2465509"/>
                </a:cubicBezTo>
                <a:cubicBezTo>
                  <a:pt x="9898084" y="2469359"/>
                  <a:pt x="9899701" y="2472154"/>
                  <a:pt x="9902410" y="2473895"/>
                </a:cubicBezTo>
                <a:cubicBezTo>
                  <a:pt x="9905120" y="2475637"/>
                  <a:pt x="9908070" y="2476493"/>
                  <a:pt x="9911260" y="2476465"/>
                </a:cubicBezTo>
                <a:lnTo>
                  <a:pt x="9912479" y="2476465"/>
                </a:lnTo>
                <a:lnTo>
                  <a:pt x="9913241" y="2469626"/>
                </a:lnTo>
                <a:cubicBezTo>
                  <a:pt x="9911444" y="2469493"/>
                  <a:pt x="9909704" y="2468807"/>
                  <a:pt x="9908022" y="2467568"/>
                </a:cubicBezTo>
                <a:cubicBezTo>
                  <a:pt x="9906339" y="2466329"/>
                  <a:pt x="9905437" y="2463965"/>
                  <a:pt x="9905317" y="2460477"/>
                </a:cubicBezTo>
                <a:lnTo>
                  <a:pt x="9905317" y="2411704"/>
                </a:lnTo>
                <a:cubicBezTo>
                  <a:pt x="9905184" y="2403946"/>
                  <a:pt x="9902596" y="2398429"/>
                  <a:pt x="9897552" y="2395153"/>
                </a:cubicBezTo>
                <a:cubicBezTo>
                  <a:pt x="9892508" y="2391877"/>
                  <a:pt x="9885803" y="2390285"/>
                  <a:pt x="9877438" y="2390378"/>
                </a:cubicBezTo>
                <a:close/>
                <a:moveTo>
                  <a:pt x="11540427" y="2390226"/>
                </a:moveTo>
                <a:cubicBezTo>
                  <a:pt x="11530270" y="2390016"/>
                  <a:pt x="11521851" y="2393366"/>
                  <a:pt x="11515168" y="2400276"/>
                </a:cubicBezTo>
                <a:cubicBezTo>
                  <a:pt x="11508485" y="2407186"/>
                  <a:pt x="11505020" y="2418917"/>
                  <a:pt x="11504774" y="2435470"/>
                </a:cubicBezTo>
                <a:cubicBezTo>
                  <a:pt x="11504890" y="2451025"/>
                  <a:pt x="11508272" y="2461956"/>
                  <a:pt x="11514920" y="2468261"/>
                </a:cubicBezTo>
                <a:cubicBezTo>
                  <a:pt x="11521568" y="2474567"/>
                  <a:pt x="11530782" y="2477606"/>
                  <a:pt x="11542562" y="2477380"/>
                </a:cubicBezTo>
                <a:cubicBezTo>
                  <a:pt x="11549921" y="2477243"/>
                  <a:pt x="11555743" y="2476642"/>
                  <a:pt x="11560029" y="2475574"/>
                </a:cubicBezTo>
                <a:cubicBezTo>
                  <a:pt x="11564315" y="2474507"/>
                  <a:pt x="11566821" y="2473791"/>
                  <a:pt x="11567546" y="2473427"/>
                </a:cubicBezTo>
                <a:lnTo>
                  <a:pt x="11565873" y="2466119"/>
                </a:lnTo>
                <a:cubicBezTo>
                  <a:pt x="11564932" y="2466450"/>
                  <a:pt x="11563314" y="2466889"/>
                  <a:pt x="11561018" y="2467435"/>
                </a:cubicBezTo>
                <a:cubicBezTo>
                  <a:pt x="11558722" y="2467981"/>
                  <a:pt x="11556223" y="2468476"/>
                  <a:pt x="11553519" y="2468920"/>
                </a:cubicBezTo>
                <a:cubicBezTo>
                  <a:pt x="11550816" y="2469365"/>
                  <a:pt x="11548383" y="2469600"/>
                  <a:pt x="11546221" y="2469626"/>
                </a:cubicBezTo>
                <a:cubicBezTo>
                  <a:pt x="11539975" y="2469751"/>
                  <a:pt x="11534443" y="2468959"/>
                  <a:pt x="11529625" y="2467249"/>
                </a:cubicBezTo>
                <a:cubicBezTo>
                  <a:pt x="11524807" y="2465538"/>
                  <a:pt x="11520981" y="2462159"/>
                  <a:pt x="11518145" y="2457111"/>
                </a:cubicBezTo>
                <a:cubicBezTo>
                  <a:pt x="11515309" y="2452063"/>
                  <a:pt x="11513741" y="2444595"/>
                  <a:pt x="11513441" y="2434708"/>
                </a:cubicBezTo>
                <a:lnTo>
                  <a:pt x="11568610" y="2434708"/>
                </a:lnTo>
                <a:lnTo>
                  <a:pt x="11568610" y="2431668"/>
                </a:lnTo>
                <a:cubicBezTo>
                  <a:pt x="11568627" y="2417471"/>
                  <a:pt x="11566312" y="2407001"/>
                  <a:pt x="11561665" y="2400258"/>
                </a:cubicBezTo>
                <a:cubicBezTo>
                  <a:pt x="11557019" y="2393515"/>
                  <a:pt x="11549939" y="2390171"/>
                  <a:pt x="11540427" y="2390226"/>
                </a:cubicBezTo>
                <a:close/>
                <a:moveTo>
                  <a:pt x="11237140" y="2390226"/>
                </a:moveTo>
                <a:cubicBezTo>
                  <a:pt x="11225724" y="2390349"/>
                  <a:pt x="11216710" y="2394252"/>
                  <a:pt x="11210099" y="2401934"/>
                </a:cubicBezTo>
                <a:cubicBezTo>
                  <a:pt x="11203488" y="2409617"/>
                  <a:pt x="11200112" y="2420342"/>
                  <a:pt x="11199974" y="2434108"/>
                </a:cubicBezTo>
                <a:cubicBezTo>
                  <a:pt x="11199916" y="2449030"/>
                  <a:pt x="11203189" y="2459920"/>
                  <a:pt x="11209794" y="2466777"/>
                </a:cubicBezTo>
                <a:cubicBezTo>
                  <a:pt x="11216399" y="2473633"/>
                  <a:pt x="11226682" y="2477015"/>
                  <a:pt x="11240645" y="2476922"/>
                </a:cubicBezTo>
                <a:cubicBezTo>
                  <a:pt x="11244970" y="2476837"/>
                  <a:pt x="11248856" y="2476438"/>
                  <a:pt x="11252304" y="2475725"/>
                </a:cubicBezTo>
                <a:cubicBezTo>
                  <a:pt x="11255752" y="2475013"/>
                  <a:pt x="11257962" y="2474499"/>
                  <a:pt x="11258933" y="2474186"/>
                </a:cubicBezTo>
                <a:lnTo>
                  <a:pt x="11257409" y="2467035"/>
                </a:lnTo>
                <a:cubicBezTo>
                  <a:pt x="11256171" y="2467324"/>
                  <a:pt x="11254114" y="2467737"/>
                  <a:pt x="11251237" y="2468273"/>
                </a:cubicBezTo>
                <a:cubicBezTo>
                  <a:pt x="11248361" y="2468810"/>
                  <a:pt x="11245236" y="2469109"/>
                  <a:pt x="11241865" y="2469169"/>
                </a:cubicBezTo>
                <a:cubicBezTo>
                  <a:pt x="11229546" y="2469207"/>
                  <a:pt x="11220884" y="2466311"/>
                  <a:pt x="11215880" y="2460480"/>
                </a:cubicBezTo>
                <a:cubicBezTo>
                  <a:pt x="11210877" y="2454649"/>
                  <a:pt x="11208463" y="2445655"/>
                  <a:pt x="11208641" y="2433498"/>
                </a:cubicBezTo>
                <a:cubicBezTo>
                  <a:pt x="11208727" y="2422329"/>
                  <a:pt x="11211223" y="2413570"/>
                  <a:pt x="11216128" y="2407221"/>
                </a:cubicBezTo>
                <a:cubicBezTo>
                  <a:pt x="11221033" y="2400873"/>
                  <a:pt x="11227834" y="2397639"/>
                  <a:pt x="11236531" y="2397522"/>
                </a:cubicBezTo>
                <a:cubicBezTo>
                  <a:pt x="11241299" y="2397595"/>
                  <a:pt x="11245249" y="2398097"/>
                  <a:pt x="11248380" y="2399027"/>
                </a:cubicBezTo>
                <a:cubicBezTo>
                  <a:pt x="11251510" y="2399958"/>
                  <a:pt x="11254012" y="2400879"/>
                  <a:pt x="11255885" y="2401791"/>
                </a:cubicBezTo>
                <a:lnTo>
                  <a:pt x="11258781" y="2394634"/>
                </a:lnTo>
                <a:cubicBezTo>
                  <a:pt x="11256974" y="2393586"/>
                  <a:pt x="11254301" y="2392604"/>
                  <a:pt x="11250761" y="2391689"/>
                </a:cubicBezTo>
                <a:cubicBezTo>
                  <a:pt x="11247221" y="2390774"/>
                  <a:pt x="11242681" y="2390286"/>
                  <a:pt x="11237140" y="2390226"/>
                </a:cubicBezTo>
                <a:close/>
                <a:moveTo>
                  <a:pt x="11162246" y="2390226"/>
                </a:moveTo>
                <a:cubicBezTo>
                  <a:pt x="11154264" y="2390253"/>
                  <a:pt x="11147857" y="2392136"/>
                  <a:pt x="11143026" y="2395875"/>
                </a:cubicBezTo>
                <a:cubicBezTo>
                  <a:pt x="11138194" y="2399613"/>
                  <a:pt x="11135714" y="2405040"/>
                  <a:pt x="11135585" y="2412156"/>
                </a:cubicBezTo>
                <a:cubicBezTo>
                  <a:pt x="11135803" y="2419004"/>
                  <a:pt x="11137986" y="2424173"/>
                  <a:pt x="11142133" y="2427665"/>
                </a:cubicBezTo>
                <a:cubicBezTo>
                  <a:pt x="11146281" y="2431156"/>
                  <a:pt x="11151083" y="2433958"/>
                  <a:pt x="11156540" y="2436070"/>
                </a:cubicBezTo>
                <a:cubicBezTo>
                  <a:pt x="11161997" y="2438183"/>
                  <a:pt x="11166799" y="2440594"/>
                  <a:pt x="11170946" y="2443304"/>
                </a:cubicBezTo>
                <a:cubicBezTo>
                  <a:pt x="11175093" y="2446014"/>
                  <a:pt x="11177276" y="2450012"/>
                  <a:pt x="11177495" y="2455297"/>
                </a:cubicBezTo>
                <a:cubicBezTo>
                  <a:pt x="11177364" y="2459981"/>
                  <a:pt x="11175223" y="2463608"/>
                  <a:pt x="11171071" y="2466177"/>
                </a:cubicBezTo>
                <a:cubicBezTo>
                  <a:pt x="11166919" y="2468746"/>
                  <a:pt x="11161537" y="2470048"/>
                  <a:pt x="11154927" y="2470083"/>
                </a:cubicBezTo>
                <a:cubicBezTo>
                  <a:pt x="11150804" y="2470001"/>
                  <a:pt x="11146931" y="2469518"/>
                  <a:pt x="11143308" y="2468635"/>
                </a:cubicBezTo>
                <a:cubicBezTo>
                  <a:pt x="11139685" y="2467752"/>
                  <a:pt x="11136806" y="2466965"/>
                  <a:pt x="11134670" y="2466272"/>
                </a:cubicBezTo>
                <a:lnTo>
                  <a:pt x="11132841" y="2473731"/>
                </a:lnTo>
                <a:cubicBezTo>
                  <a:pt x="11134767" y="2474409"/>
                  <a:pt x="11137653" y="2475144"/>
                  <a:pt x="11141500" y="2475935"/>
                </a:cubicBezTo>
                <a:cubicBezTo>
                  <a:pt x="11145347" y="2476727"/>
                  <a:pt x="11150026" y="2477157"/>
                  <a:pt x="11155537" y="2477227"/>
                </a:cubicBezTo>
                <a:cubicBezTo>
                  <a:pt x="11160176" y="2477280"/>
                  <a:pt x="11164754" y="2476634"/>
                  <a:pt x="11169271" y="2475289"/>
                </a:cubicBezTo>
                <a:cubicBezTo>
                  <a:pt x="11173788" y="2473944"/>
                  <a:pt x="11177551" y="2471583"/>
                  <a:pt x="11180561" y="2468206"/>
                </a:cubicBezTo>
                <a:cubicBezTo>
                  <a:pt x="11183570" y="2464829"/>
                  <a:pt x="11185133" y="2460120"/>
                  <a:pt x="11185248" y="2454077"/>
                </a:cubicBezTo>
                <a:cubicBezTo>
                  <a:pt x="11185031" y="2447528"/>
                  <a:pt x="11182864" y="2442562"/>
                  <a:pt x="11178747" y="2439179"/>
                </a:cubicBezTo>
                <a:cubicBezTo>
                  <a:pt x="11174630" y="2435795"/>
                  <a:pt x="11169863" y="2433044"/>
                  <a:pt x="11164445" y="2430925"/>
                </a:cubicBezTo>
                <a:cubicBezTo>
                  <a:pt x="11159028" y="2428807"/>
                  <a:pt x="11154261" y="2426370"/>
                  <a:pt x="11150144" y="2423616"/>
                </a:cubicBezTo>
                <a:cubicBezTo>
                  <a:pt x="11146026" y="2420861"/>
                  <a:pt x="11143859" y="2416838"/>
                  <a:pt x="11143643" y="2411547"/>
                </a:cubicBezTo>
                <a:cubicBezTo>
                  <a:pt x="11143662" y="2407561"/>
                  <a:pt x="11145111" y="2404252"/>
                  <a:pt x="11147989" y="2401619"/>
                </a:cubicBezTo>
                <a:cubicBezTo>
                  <a:pt x="11150867" y="2398986"/>
                  <a:pt x="11155060" y="2397620"/>
                  <a:pt x="11160569" y="2397522"/>
                </a:cubicBezTo>
                <a:cubicBezTo>
                  <a:pt x="11165232" y="2397601"/>
                  <a:pt x="11169095" y="2398014"/>
                  <a:pt x="11172157" y="2398761"/>
                </a:cubicBezTo>
                <a:cubicBezTo>
                  <a:pt x="11175219" y="2399507"/>
                  <a:pt x="11177404" y="2400110"/>
                  <a:pt x="11178711" y="2400571"/>
                </a:cubicBezTo>
                <a:lnTo>
                  <a:pt x="11180383" y="2393418"/>
                </a:lnTo>
                <a:cubicBezTo>
                  <a:pt x="11179458" y="2393085"/>
                  <a:pt x="11177351" y="2392496"/>
                  <a:pt x="11174061" y="2391651"/>
                </a:cubicBezTo>
                <a:cubicBezTo>
                  <a:pt x="11170772" y="2390805"/>
                  <a:pt x="11166833" y="2390330"/>
                  <a:pt x="11162246" y="2390226"/>
                </a:cubicBezTo>
                <a:close/>
                <a:moveTo>
                  <a:pt x="10999015" y="2390226"/>
                </a:moveTo>
                <a:cubicBezTo>
                  <a:pt x="10987599" y="2390349"/>
                  <a:pt x="10978585" y="2394252"/>
                  <a:pt x="10971974" y="2401934"/>
                </a:cubicBezTo>
                <a:cubicBezTo>
                  <a:pt x="10965363" y="2409617"/>
                  <a:pt x="10961987" y="2420342"/>
                  <a:pt x="10961849" y="2434108"/>
                </a:cubicBezTo>
                <a:cubicBezTo>
                  <a:pt x="10961791" y="2449030"/>
                  <a:pt x="10965064" y="2459920"/>
                  <a:pt x="10971669" y="2466777"/>
                </a:cubicBezTo>
                <a:cubicBezTo>
                  <a:pt x="10978274" y="2473633"/>
                  <a:pt x="10988557" y="2477015"/>
                  <a:pt x="11002520" y="2476922"/>
                </a:cubicBezTo>
                <a:cubicBezTo>
                  <a:pt x="11006845" y="2476837"/>
                  <a:pt x="11010731" y="2476438"/>
                  <a:pt x="11014179" y="2475725"/>
                </a:cubicBezTo>
                <a:cubicBezTo>
                  <a:pt x="11017627" y="2475013"/>
                  <a:pt x="11019837" y="2474499"/>
                  <a:pt x="11020808" y="2474186"/>
                </a:cubicBezTo>
                <a:lnTo>
                  <a:pt x="11019284" y="2467035"/>
                </a:lnTo>
                <a:cubicBezTo>
                  <a:pt x="11018046" y="2467324"/>
                  <a:pt x="11015989" y="2467737"/>
                  <a:pt x="11013112" y="2468273"/>
                </a:cubicBezTo>
                <a:cubicBezTo>
                  <a:pt x="11010236" y="2468810"/>
                  <a:pt x="11007111" y="2469109"/>
                  <a:pt x="11003739" y="2469169"/>
                </a:cubicBezTo>
                <a:cubicBezTo>
                  <a:pt x="10991421" y="2469207"/>
                  <a:pt x="10982759" y="2466311"/>
                  <a:pt x="10977755" y="2460480"/>
                </a:cubicBezTo>
                <a:cubicBezTo>
                  <a:pt x="10972751" y="2454649"/>
                  <a:pt x="10970339" y="2445655"/>
                  <a:pt x="10970516" y="2433498"/>
                </a:cubicBezTo>
                <a:cubicBezTo>
                  <a:pt x="10970602" y="2422329"/>
                  <a:pt x="10973098" y="2413570"/>
                  <a:pt x="10978003" y="2407221"/>
                </a:cubicBezTo>
                <a:cubicBezTo>
                  <a:pt x="10982908" y="2400873"/>
                  <a:pt x="10989709" y="2397639"/>
                  <a:pt x="10998405" y="2397522"/>
                </a:cubicBezTo>
                <a:cubicBezTo>
                  <a:pt x="11003174" y="2397595"/>
                  <a:pt x="11007124" y="2398097"/>
                  <a:pt x="11010255" y="2399027"/>
                </a:cubicBezTo>
                <a:cubicBezTo>
                  <a:pt x="11013385" y="2399958"/>
                  <a:pt x="11015887" y="2400879"/>
                  <a:pt x="11017760" y="2401791"/>
                </a:cubicBezTo>
                <a:lnTo>
                  <a:pt x="11020656" y="2394634"/>
                </a:lnTo>
                <a:cubicBezTo>
                  <a:pt x="11018849" y="2393586"/>
                  <a:pt x="11016176" y="2392604"/>
                  <a:pt x="11012636" y="2391689"/>
                </a:cubicBezTo>
                <a:cubicBezTo>
                  <a:pt x="11009096" y="2390774"/>
                  <a:pt x="11004555" y="2390286"/>
                  <a:pt x="10999015" y="2390226"/>
                </a:cubicBezTo>
                <a:close/>
                <a:moveTo>
                  <a:pt x="10912843" y="2390226"/>
                </a:moveTo>
                <a:cubicBezTo>
                  <a:pt x="10902109" y="2390266"/>
                  <a:pt x="10893359" y="2394067"/>
                  <a:pt x="10886594" y="2401629"/>
                </a:cubicBezTo>
                <a:cubicBezTo>
                  <a:pt x="10879829" y="2409191"/>
                  <a:pt x="10876339" y="2420271"/>
                  <a:pt x="10876123" y="2434870"/>
                </a:cubicBezTo>
                <a:cubicBezTo>
                  <a:pt x="10876243" y="2448712"/>
                  <a:pt x="10879467" y="2459246"/>
                  <a:pt x="10885793" y="2466471"/>
                </a:cubicBezTo>
                <a:cubicBezTo>
                  <a:pt x="10892120" y="2473697"/>
                  <a:pt x="10900832" y="2477333"/>
                  <a:pt x="10911928" y="2477380"/>
                </a:cubicBezTo>
                <a:cubicBezTo>
                  <a:pt x="10922510" y="2477409"/>
                  <a:pt x="10931145" y="2473849"/>
                  <a:pt x="10937834" y="2466700"/>
                </a:cubicBezTo>
                <a:cubicBezTo>
                  <a:pt x="10944523" y="2459551"/>
                  <a:pt x="10947975" y="2448636"/>
                  <a:pt x="10948190" y="2433955"/>
                </a:cubicBezTo>
                <a:cubicBezTo>
                  <a:pt x="10948194" y="2419795"/>
                  <a:pt x="10945256" y="2408982"/>
                  <a:pt x="10939377" y="2401515"/>
                </a:cubicBezTo>
                <a:cubicBezTo>
                  <a:pt x="10933499" y="2394048"/>
                  <a:pt x="10924654" y="2390285"/>
                  <a:pt x="10912843" y="2390226"/>
                </a:cubicBezTo>
                <a:close/>
                <a:moveTo>
                  <a:pt x="10673652" y="2390226"/>
                </a:moveTo>
                <a:cubicBezTo>
                  <a:pt x="10663495" y="2390016"/>
                  <a:pt x="10655075" y="2393366"/>
                  <a:pt x="10648393" y="2400276"/>
                </a:cubicBezTo>
                <a:cubicBezTo>
                  <a:pt x="10641710" y="2407186"/>
                  <a:pt x="10638245" y="2418917"/>
                  <a:pt x="10637999" y="2435470"/>
                </a:cubicBezTo>
                <a:cubicBezTo>
                  <a:pt x="10638115" y="2451025"/>
                  <a:pt x="10641497" y="2461956"/>
                  <a:pt x="10648145" y="2468261"/>
                </a:cubicBezTo>
                <a:cubicBezTo>
                  <a:pt x="10654793" y="2474567"/>
                  <a:pt x="10664007" y="2477606"/>
                  <a:pt x="10675787" y="2477380"/>
                </a:cubicBezTo>
                <a:cubicBezTo>
                  <a:pt x="10683145" y="2477243"/>
                  <a:pt x="10688968" y="2476642"/>
                  <a:pt x="10693254" y="2475574"/>
                </a:cubicBezTo>
                <a:cubicBezTo>
                  <a:pt x="10697540" y="2474507"/>
                  <a:pt x="10700045" y="2473791"/>
                  <a:pt x="10700770" y="2473427"/>
                </a:cubicBezTo>
                <a:lnTo>
                  <a:pt x="10699098" y="2466119"/>
                </a:lnTo>
                <a:cubicBezTo>
                  <a:pt x="10698157" y="2466450"/>
                  <a:pt x="10696539" y="2466889"/>
                  <a:pt x="10694243" y="2467435"/>
                </a:cubicBezTo>
                <a:cubicBezTo>
                  <a:pt x="10691947" y="2467981"/>
                  <a:pt x="10689448" y="2468476"/>
                  <a:pt x="10686744" y="2468920"/>
                </a:cubicBezTo>
                <a:cubicBezTo>
                  <a:pt x="10684041" y="2469365"/>
                  <a:pt x="10681608" y="2469600"/>
                  <a:pt x="10679446" y="2469626"/>
                </a:cubicBezTo>
                <a:cubicBezTo>
                  <a:pt x="10673199" y="2469751"/>
                  <a:pt x="10667668" y="2468959"/>
                  <a:pt x="10662850" y="2467249"/>
                </a:cubicBezTo>
                <a:cubicBezTo>
                  <a:pt x="10658032" y="2465538"/>
                  <a:pt x="10654206" y="2462159"/>
                  <a:pt x="10651370" y="2457111"/>
                </a:cubicBezTo>
                <a:cubicBezTo>
                  <a:pt x="10648534" y="2452063"/>
                  <a:pt x="10646967" y="2444595"/>
                  <a:pt x="10646666" y="2434708"/>
                </a:cubicBezTo>
                <a:lnTo>
                  <a:pt x="10701835" y="2434708"/>
                </a:lnTo>
                <a:lnTo>
                  <a:pt x="10701835" y="2431668"/>
                </a:lnTo>
                <a:cubicBezTo>
                  <a:pt x="10701852" y="2417471"/>
                  <a:pt x="10699537" y="2407001"/>
                  <a:pt x="10694890" y="2400258"/>
                </a:cubicBezTo>
                <a:cubicBezTo>
                  <a:pt x="10690244" y="2393515"/>
                  <a:pt x="10683164" y="2390171"/>
                  <a:pt x="10673652" y="2390226"/>
                </a:cubicBezTo>
                <a:close/>
                <a:moveTo>
                  <a:pt x="10503715" y="2390226"/>
                </a:moveTo>
                <a:cubicBezTo>
                  <a:pt x="10492299" y="2390349"/>
                  <a:pt x="10483285" y="2394252"/>
                  <a:pt x="10476674" y="2401934"/>
                </a:cubicBezTo>
                <a:cubicBezTo>
                  <a:pt x="10470062" y="2409617"/>
                  <a:pt x="10466687" y="2420342"/>
                  <a:pt x="10466549" y="2434108"/>
                </a:cubicBezTo>
                <a:cubicBezTo>
                  <a:pt x="10466491" y="2449030"/>
                  <a:pt x="10469764" y="2459920"/>
                  <a:pt x="10476369" y="2466777"/>
                </a:cubicBezTo>
                <a:cubicBezTo>
                  <a:pt x="10482974" y="2473633"/>
                  <a:pt x="10493257" y="2477015"/>
                  <a:pt x="10507220" y="2476922"/>
                </a:cubicBezTo>
                <a:cubicBezTo>
                  <a:pt x="10511545" y="2476837"/>
                  <a:pt x="10515431" y="2476438"/>
                  <a:pt x="10518879" y="2475725"/>
                </a:cubicBezTo>
                <a:cubicBezTo>
                  <a:pt x="10522327" y="2475013"/>
                  <a:pt x="10524537" y="2474499"/>
                  <a:pt x="10525508" y="2474186"/>
                </a:cubicBezTo>
                <a:lnTo>
                  <a:pt x="10523984" y="2467035"/>
                </a:lnTo>
                <a:cubicBezTo>
                  <a:pt x="10522746" y="2467324"/>
                  <a:pt x="10520689" y="2467737"/>
                  <a:pt x="10517812" y="2468273"/>
                </a:cubicBezTo>
                <a:cubicBezTo>
                  <a:pt x="10514935" y="2468810"/>
                  <a:pt x="10511811" y="2469109"/>
                  <a:pt x="10508439" y="2469169"/>
                </a:cubicBezTo>
                <a:cubicBezTo>
                  <a:pt x="10496120" y="2469207"/>
                  <a:pt x="10487459" y="2466311"/>
                  <a:pt x="10482455" y="2460480"/>
                </a:cubicBezTo>
                <a:cubicBezTo>
                  <a:pt x="10477451" y="2454649"/>
                  <a:pt x="10475038" y="2445655"/>
                  <a:pt x="10475216" y="2433498"/>
                </a:cubicBezTo>
                <a:cubicBezTo>
                  <a:pt x="10475302" y="2422329"/>
                  <a:pt x="10477797" y="2413570"/>
                  <a:pt x="10482703" y="2407221"/>
                </a:cubicBezTo>
                <a:cubicBezTo>
                  <a:pt x="10487608" y="2400873"/>
                  <a:pt x="10494409" y="2397639"/>
                  <a:pt x="10503105" y="2397522"/>
                </a:cubicBezTo>
                <a:cubicBezTo>
                  <a:pt x="10507874" y="2397595"/>
                  <a:pt x="10511824" y="2398097"/>
                  <a:pt x="10514955" y="2399027"/>
                </a:cubicBezTo>
                <a:cubicBezTo>
                  <a:pt x="10518085" y="2399958"/>
                  <a:pt x="10520587" y="2400879"/>
                  <a:pt x="10522460" y="2401791"/>
                </a:cubicBezTo>
                <a:lnTo>
                  <a:pt x="10525356" y="2394634"/>
                </a:lnTo>
                <a:cubicBezTo>
                  <a:pt x="10523549" y="2393586"/>
                  <a:pt x="10520876" y="2392604"/>
                  <a:pt x="10517336" y="2391689"/>
                </a:cubicBezTo>
                <a:cubicBezTo>
                  <a:pt x="10513796" y="2390774"/>
                  <a:pt x="10509255" y="2390286"/>
                  <a:pt x="10503715" y="2390226"/>
                </a:cubicBezTo>
                <a:close/>
                <a:moveTo>
                  <a:pt x="10428821" y="2390226"/>
                </a:moveTo>
                <a:cubicBezTo>
                  <a:pt x="10420839" y="2390253"/>
                  <a:pt x="10414432" y="2392136"/>
                  <a:pt x="10409600" y="2395875"/>
                </a:cubicBezTo>
                <a:cubicBezTo>
                  <a:pt x="10404769" y="2399613"/>
                  <a:pt x="10402289" y="2405040"/>
                  <a:pt x="10402159" y="2412156"/>
                </a:cubicBezTo>
                <a:cubicBezTo>
                  <a:pt x="10402378" y="2419004"/>
                  <a:pt x="10404561" y="2424173"/>
                  <a:pt x="10408708" y="2427665"/>
                </a:cubicBezTo>
                <a:cubicBezTo>
                  <a:pt x="10412855" y="2431156"/>
                  <a:pt x="10417657" y="2433958"/>
                  <a:pt x="10423115" y="2436070"/>
                </a:cubicBezTo>
                <a:cubicBezTo>
                  <a:pt x="10428571" y="2438183"/>
                  <a:pt x="10433374" y="2440594"/>
                  <a:pt x="10437521" y="2443304"/>
                </a:cubicBezTo>
                <a:cubicBezTo>
                  <a:pt x="10441668" y="2446014"/>
                  <a:pt x="10443851" y="2450012"/>
                  <a:pt x="10444069" y="2455297"/>
                </a:cubicBezTo>
                <a:cubicBezTo>
                  <a:pt x="10443939" y="2459981"/>
                  <a:pt x="10441798" y="2463608"/>
                  <a:pt x="10437646" y="2466177"/>
                </a:cubicBezTo>
                <a:cubicBezTo>
                  <a:pt x="10433494" y="2468746"/>
                  <a:pt x="10428113" y="2470048"/>
                  <a:pt x="10421502" y="2470083"/>
                </a:cubicBezTo>
                <a:cubicBezTo>
                  <a:pt x="10417379" y="2470001"/>
                  <a:pt x="10413506" y="2469518"/>
                  <a:pt x="10409883" y="2468635"/>
                </a:cubicBezTo>
                <a:cubicBezTo>
                  <a:pt x="10406260" y="2467752"/>
                  <a:pt x="10403381" y="2466965"/>
                  <a:pt x="10401245" y="2466272"/>
                </a:cubicBezTo>
                <a:lnTo>
                  <a:pt x="10399416" y="2473731"/>
                </a:lnTo>
                <a:cubicBezTo>
                  <a:pt x="10401342" y="2474409"/>
                  <a:pt x="10404228" y="2475144"/>
                  <a:pt x="10408075" y="2475935"/>
                </a:cubicBezTo>
                <a:cubicBezTo>
                  <a:pt x="10411922" y="2476727"/>
                  <a:pt x="10416601" y="2477157"/>
                  <a:pt x="10422112" y="2477227"/>
                </a:cubicBezTo>
                <a:cubicBezTo>
                  <a:pt x="10426751" y="2477280"/>
                  <a:pt x="10431329" y="2476634"/>
                  <a:pt x="10435846" y="2475289"/>
                </a:cubicBezTo>
                <a:cubicBezTo>
                  <a:pt x="10440363" y="2473944"/>
                  <a:pt x="10444127" y="2471583"/>
                  <a:pt x="10447136" y="2468206"/>
                </a:cubicBezTo>
                <a:cubicBezTo>
                  <a:pt x="10450145" y="2464829"/>
                  <a:pt x="10451707" y="2460120"/>
                  <a:pt x="10451823" y="2454077"/>
                </a:cubicBezTo>
                <a:cubicBezTo>
                  <a:pt x="10451606" y="2447528"/>
                  <a:pt x="10449439" y="2442562"/>
                  <a:pt x="10445322" y="2439179"/>
                </a:cubicBezTo>
                <a:cubicBezTo>
                  <a:pt x="10441205" y="2435795"/>
                  <a:pt x="10436438" y="2433044"/>
                  <a:pt x="10431020" y="2430925"/>
                </a:cubicBezTo>
                <a:cubicBezTo>
                  <a:pt x="10425603" y="2428807"/>
                  <a:pt x="10420836" y="2426370"/>
                  <a:pt x="10416719" y="2423616"/>
                </a:cubicBezTo>
                <a:cubicBezTo>
                  <a:pt x="10412601" y="2420861"/>
                  <a:pt x="10410434" y="2416838"/>
                  <a:pt x="10410218" y="2411547"/>
                </a:cubicBezTo>
                <a:cubicBezTo>
                  <a:pt x="10410237" y="2407561"/>
                  <a:pt x="10411685" y="2404252"/>
                  <a:pt x="10414563" y="2401619"/>
                </a:cubicBezTo>
                <a:cubicBezTo>
                  <a:pt x="10417442" y="2398986"/>
                  <a:pt x="10421635" y="2397620"/>
                  <a:pt x="10427144" y="2397522"/>
                </a:cubicBezTo>
                <a:cubicBezTo>
                  <a:pt x="10431807" y="2397601"/>
                  <a:pt x="10435670" y="2398014"/>
                  <a:pt x="10438732" y="2398761"/>
                </a:cubicBezTo>
                <a:cubicBezTo>
                  <a:pt x="10441794" y="2399507"/>
                  <a:pt x="10443979" y="2400110"/>
                  <a:pt x="10445286" y="2400571"/>
                </a:cubicBezTo>
                <a:lnTo>
                  <a:pt x="10446958" y="2393418"/>
                </a:lnTo>
                <a:cubicBezTo>
                  <a:pt x="10446033" y="2393085"/>
                  <a:pt x="10443926" y="2392496"/>
                  <a:pt x="10440636" y="2391651"/>
                </a:cubicBezTo>
                <a:cubicBezTo>
                  <a:pt x="10437347" y="2390805"/>
                  <a:pt x="10433408" y="2390330"/>
                  <a:pt x="10428821" y="2390226"/>
                </a:cubicBezTo>
                <a:close/>
                <a:moveTo>
                  <a:pt x="10314142" y="2390226"/>
                </a:moveTo>
                <a:cubicBezTo>
                  <a:pt x="10307147" y="2390213"/>
                  <a:pt x="10300810" y="2391794"/>
                  <a:pt x="10295129" y="2394969"/>
                </a:cubicBezTo>
                <a:cubicBezTo>
                  <a:pt x="10289448" y="2398143"/>
                  <a:pt x="10284919" y="2402986"/>
                  <a:pt x="10281543" y="2409497"/>
                </a:cubicBezTo>
                <a:cubicBezTo>
                  <a:pt x="10278166" y="2416008"/>
                  <a:pt x="10276436" y="2424263"/>
                  <a:pt x="10276353" y="2434260"/>
                </a:cubicBezTo>
                <a:cubicBezTo>
                  <a:pt x="10276477" y="2446445"/>
                  <a:pt x="10278277" y="2455606"/>
                  <a:pt x="10281751" y="2461742"/>
                </a:cubicBezTo>
                <a:cubicBezTo>
                  <a:pt x="10285226" y="2467879"/>
                  <a:pt x="10289633" y="2471958"/>
                  <a:pt x="10294971" y="2473979"/>
                </a:cubicBezTo>
                <a:cubicBezTo>
                  <a:pt x="10300309" y="2476001"/>
                  <a:pt x="10305835" y="2476931"/>
                  <a:pt x="10311550" y="2476770"/>
                </a:cubicBezTo>
                <a:cubicBezTo>
                  <a:pt x="10316070" y="2476745"/>
                  <a:pt x="10319951" y="2476035"/>
                  <a:pt x="10323194" y="2474642"/>
                </a:cubicBezTo>
                <a:cubicBezTo>
                  <a:pt x="10326437" y="2473248"/>
                  <a:pt x="10329365" y="2471322"/>
                  <a:pt x="10331979" y="2468864"/>
                </a:cubicBezTo>
                <a:lnTo>
                  <a:pt x="10331979" y="2479363"/>
                </a:lnTo>
                <a:cubicBezTo>
                  <a:pt x="10331926" y="2486134"/>
                  <a:pt x="10330744" y="2491214"/>
                  <a:pt x="10328433" y="2494602"/>
                </a:cubicBezTo>
                <a:cubicBezTo>
                  <a:pt x="10326122" y="2497991"/>
                  <a:pt x="10322997" y="2500235"/>
                  <a:pt x="10319060" y="2501336"/>
                </a:cubicBezTo>
                <a:cubicBezTo>
                  <a:pt x="10315122" y="2502436"/>
                  <a:pt x="10310688" y="2502941"/>
                  <a:pt x="10305756" y="2502849"/>
                </a:cubicBezTo>
                <a:cubicBezTo>
                  <a:pt x="10303420" y="2502821"/>
                  <a:pt x="10300757" y="2502606"/>
                  <a:pt x="10297766" y="2502205"/>
                </a:cubicBezTo>
                <a:cubicBezTo>
                  <a:pt x="10294775" y="2501804"/>
                  <a:pt x="10292055" y="2501386"/>
                  <a:pt x="10289606" y="2500951"/>
                </a:cubicBezTo>
                <a:cubicBezTo>
                  <a:pt x="10287158" y="2500517"/>
                  <a:pt x="10285578" y="2500234"/>
                  <a:pt x="10284869" y="2500104"/>
                </a:cubicBezTo>
                <a:lnTo>
                  <a:pt x="10283196" y="2508018"/>
                </a:lnTo>
                <a:cubicBezTo>
                  <a:pt x="10284407" y="2508325"/>
                  <a:pt x="10287315" y="2508813"/>
                  <a:pt x="10291921" y="2509482"/>
                </a:cubicBezTo>
                <a:cubicBezTo>
                  <a:pt x="10296526" y="2510150"/>
                  <a:pt x="10301951" y="2510524"/>
                  <a:pt x="10308196" y="2510603"/>
                </a:cubicBezTo>
                <a:cubicBezTo>
                  <a:pt x="10318400" y="2510620"/>
                  <a:pt x="10326267" y="2508266"/>
                  <a:pt x="10331797" y="2503542"/>
                </a:cubicBezTo>
                <a:cubicBezTo>
                  <a:pt x="10337326" y="2498819"/>
                  <a:pt x="10340124" y="2491623"/>
                  <a:pt x="10340190" y="2481955"/>
                </a:cubicBezTo>
                <a:lnTo>
                  <a:pt x="10340190" y="2393114"/>
                </a:lnTo>
                <a:cubicBezTo>
                  <a:pt x="10336559" y="2392395"/>
                  <a:pt x="10332602" y="2391743"/>
                  <a:pt x="10328317" y="2391157"/>
                </a:cubicBezTo>
                <a:cubicBezTo>
                  <a:pt x="10324032" y="2390571"/>
                  <a:pt x="10319307" y="2390261"/>
                  <a:pt x="10314142" y="2390226"/>
                </a:cubicBezTo>
                <a:close/>
                <a:moveTo>
                  <a:pt x="10227043" y="2390226"/>
                </a:moveTo>
                <a:cubicBezTo>
                  <a:pt x="10216308" y="2390266"/>
                  <a:pt x="10207559" y="2394067"/>
                  <a:pt x="10200794" y="2401629"/>
                </a:cubicBezTo>
                <a:cubicBezTo>
                  <a:pt x="10194029" y="2409191"/>
                  <a:pt x="10190539" y="2420271"/>
                  <a:pt x="10190323" y="2434870"/>
                </a:cubicBezTo>
                <a:cubicBezTo>
                  <a:pt x="10190443" y="2448712"/>
                  <a:pt x="10193667" y="2459246"/>
                  <a:pt x="10199993" y="2466471"/>
                </a:cubicBezTo>
                <a:cubicBezTo>
                  <a:pt x="10206320" y="2473697"/>
                  <a:pt x="10215032" y="2477333"/>
                  <a:pt x="10226128" y="2477380"/>
                </a:cubicBezTo>
                <a:cubicBezTo>
                  <a:pt x="10236710" y="2477409"/>
                  <a:pt x="10245345" y="2473849"/>
                  <a:pt x="10252034" y="2466700"/>
                </a:cubicBezTo>
                <a:cubicBezTo>
                  <a:pt x="10258723" y="2459551"/>
                  <a:pt x="10262175" y="2448636"/>
                  <a:pt x="10262390" y="2433955"/>
                </a:cubicBezTo>
                <a:cubicBezTo>
                  <a:pt x="10262394" y="2419795"/>
                  <a:pt x="10259456" y="2408982"/>
                  <a:pt x="10253578" y="2401515"/>
                </a:cubicBezTo>
                <a:cubicBezTo>
                  <a:pt x="10247699" y="2394048"/>
                  <a:pt x="10238854" y="2390285"/>
                  <a:pt x="10227043" y="2390226"/>
                </a:cubicBezTo>
                <a:close/>
                <a:moveTo>
                  <a:pt x="10142692" y="2390226"/>
                </a:moveTo>
                <a:cubicBezTo>
                  <a:pt x="10135697" y="2390213"/>
                  <a:pt x="10129360" y="2391794"/>
                  <a:pt x="10123679" y="2394969"/>
                </a:cubicBezTo>
                <a:cubicBezTo>
                  <a:pt x="10117998" y="2398143"/>
                  <a:pt x="10113469" y="2402986"/>
                  <a:pt x="10110093" y="2409497"/>
                </a:cubicBezTo>
                <a:cubicBezTo>
                  <a:pt x="10106716" y="2416008"/>
                  <a:pt x="10104986" y="2424263"/>
                  <a:pt x="10104903" y="2434260"/>
                </a:cubicBezTo>
                <a:cubicBezTo>
                  <a:pt x="10105027" y="2446445"/>
                  <a:pt x="10106827" y="2455606"/>
                  <a:pt x="10110301" y="2461742"/>
                </a:cubicBezTo>
                <a:cubicBezTo>
                  <a:pt x="10113776" y="2467879"/>
                  <a:pt x="10118183" y="2471958"/>
                  <a:pt x="10123521" y="2473979"/>
                </a:cubicBezTo>
                <a:cubicBezTo>
                  <a:pt x="10128859" y="2476001"/>
                  <a:pt x="10134385" y="2476931"/>
                  <a:pt x="10140100" y="2476770"/>
                </a:cubicBezTo>
                <a:cubicBezTo>
                  <a:pt x="10144620" y="2476745"/>
                  <a:pt x="10148501" y="2476035"/>
                  <a:pt x="10151744" y="2474642"/>
                </a:cubicBezTo>
                <a:cubicBezTo>
                  <a:pt x="10154987" y="2473248"/>
                  <a:pt x="10157915" y="2471322"/>
                  <a:pt x="10160529" y="2468864"/>
                </a:cubicBezTo>
                <a:lnTo>
                  <a:pt x="10160529" y="2479363"/>
                </a:lnTo>
                <a:cubicBezTo>
                  <a:pt x="10160476" y="2486134"/>
                  <a:pt x="10159294" y="2491214"/>
                  <a:pt x="10156983" y="2494602"/>
                </a:cubicBezTo>
                <a:cubicBezTo>
                  <a:pt x="10154672" y="2497991"/>
                  <a:pt x="10151547" y="2500235"/>
                  <a:pt x="10147610" y="2501336"/>
                </a:cubicBezTo>
                <a:cubicBezTo>
                  <a:pt x="10143672" y="2502436"/>
                  <a:pt x="10139238" y="2502941"/>
                  <a:pt x="10134306" y="2502849"/>
                </a:cubicBezTo>
                <a:cubicBezTo>
                  <a:pt x="10131970" y="2502821"/>
                  <a:pt x="10129307" y="2502606"/>
                  <a:pt x="10126316" y="2502205"/>
                </a:cubicBezTo>
                <a:cubicBezTo>
                  <a:pt x="10123325" y="2501804"/>
                  <a:pt x="10120605" y="2501386"/>
                  <a:pt x="10118156" y="2500951"/>
                </a:cubicBezTo>
                <a:cubicBezTo>
                  <a:pt x="10115708" y="2500517"/>
                  <a:pt x="10114128" y="2500234"/>
                  <a:pt x="10113419" y="2500104"/>
                </a:cubicBezTo>
                <a:lnTo>
                  <a:pt x="10111746" y="2508018"/>
                </a:lnTo>
                <a:cubicBezTo>
                  <a:pt x="10112957" y="2508325"/>
                  <a:pt x="10115865" y="2508813"/>
                  <a:pt x="10120471" y="2509482"/>
                </a:cubicBezTo>
                <a:cubicBezTo>
                  <a:pt x="10125076" y="2510150"/>
                  <a:pt x="10130501" y="2510524"/>
                  <a:pt x="10136746" y="2510603"/>
                </a:cubicBezTo>
                <a:cubicBezTo>
                  <a:pt x="10146950" y="2510620"/>
                  <a:pt x="10154817" y="2508266"/>
                  <a:pt x="10160347" y="2503542"/>
                </a:cubicBezTo>
                <a:cubicBezTo>
                  <a:pt x="10165876" y="2498819"/>
                  <a:pt x="10168674" y="2491623"/>
                  <a:pt x="10168740" y="2481955"/>
                </a:cubicBezTo>
                <a:lnTo>
                  <a:pt x="10168740" y="2393114"/>
                </a:lnTo>
                <a:cubicBezTo>
                  <a:pt x="10165109" y="2392395"/>
                  <a:pt x="10161152" y="2391743"/>
                  <a:pt x="10156867" y="2391157"/>
                </a:cubicBezTo>
                <a:cubicBezTo>
                  <a:pt x="10152582" y="2390571"/>
                  <a:pt x="10147857" y="2390261"/>
                  <a:pt x="10142692" y="2390226"/>
                </a:cubicBezTo>
                <a:close/>
                <a:moveTo>
                  <a:pt x="10770967" y="2367823"/>
                </a:moveTo>
                <a:lnTo>
                  <a:pt x="10770967" y="2475551"/>
                </a:lnTo>
                <a:lnTo>
                  <a:pt x="10779940" y="2475551"/>
                </a:lnTo>
                <a:lnTo>
                  <a:pt x="10779940" y="2425411"/>
                </a:lnTo>
                <a:lnTo>
                  <a:pt x="10842595" y="2425411"/>
                </a:lnTo>
                <a:lnTo>
                  <a:pt x="10842595" y="2475551"/>
                </a:lnTo>
                <a:lnTo>
                  <a:pt x="10851568" y="2475551"/>
                </a:lnTo>
                <a:lnTo>
                  <a:pt x="10851568" y="2367823"/>
                </a:lnTo>
                <a:lnTo>
                  <a:pt x="10842595" y="2367823"/>
                </a:lnTo>
                <a:lnTo>
                  <a:pt x="10842595" y="2417505"/>
                </a:lnTo>
                <a:lnTo>
                  <a:pt x="10779940" y="2417505"/>
                </a:lnTo>
                <a:lnTo>
                  <a:pt x="10779940" y="2367823"/>
                </a:lnTo>
                <a:close/>
                <a:moveTo>
                  <a:pt x="9770843" y="2367823"/>
                </a:moveTo>
                <a:lnTo>
                  <a:pt x="9770843" y="2475551"/>
                </a:lnTo>
                <a:lnTo>
                  <a:pt x="9779968" y="2475551"/>
                </a:lnTo>
                <a:lnTo>
                  <a:pt x="9779968" y="2375272"/>
                </a:lnTo>
                <a:lnTo>
                  <a:pt x="9800855" y="2375272"/>
                </a:lnTo>
                <a:cubicBezTo>
                  <a:pt x="9809777" y="2375211"/>
                  <a:pt x="9816479" y="2377238"/>
                  <a:pt x="9820960" y="2381351"/>
                </a:cubicBezTo>
                <a:cubicBezTo>
                  <a:pt x="9825442" y="2385464"/>
                  <a:pt x="9827685" y="2392026"/>
                  <a:pt x="9827688" y="2401037"/>
                </a:cubicBezTo>
                <a:cubicBezTo>
                  <a:pt x="9827484" y="2410368"/>
                  <a:pt x="9824537" y="2416975"/>
                  <a:pt x="9818845" y="2420856"/>
                </a:cubicBezTo>
                <a:cubicBezTo>
                  <a:pt x="9813153" y="2424737"/>
                  <a:pt x="9805937" y="2426618"/>
                  <a:pt x="9797196" y="2426497"/>
                </a:cubicBezTo>
                <a:lnTo>
                  <a:pt x="9792774" y="2426497"/>
                </a:lnTo>
                <a:lnTo>
                  <a:pt x="9792774" y="2434403"/>
                </a:lnTo>
                <a:lnTo>
                  <a:pt x="9796281" y="2434403"/>
                </a:lnTo>
                <a:cubicBezTo>
                  <a:pt x="9810595" y="2434162"/>
                  <a:pt x="9821029" y="2430837"/>
                  <a:pt x="9827581" y="2424428"/>
                </a:cubicBezTo>
                <a:cubicBezTo>
                  <a:pt x="9834133" y="2418018"/>
                  <a:pt x="9837363" y="2409967"/>
                  <a:pt x="9837270" y="2400275"/>
                </a:cubicBezTo>
                <a:cubicBezTo>
                  <a:pt x="9837198" y="2389585"/>
                  <a:pt x="9834299" y="2381508"/>
                  <a:pt x="9828572" y="2376045"/>
                </a:cubicBezTo>
                <a:cubicBezTo>
                  <a:pt x="9822845" y="2370582"/>
                  <a:pt x="9814724" y="2367841"/>
                  <a:pt x="9804209" y="2367823"/>
                </a:cubicBezTo>
                <a:close/>
                <a:moveTo>
                  <a:pt x="11472770" y="2360660"/>
                </a:moveTo>
                <a:lnTo>
                  <a:pt x="11472770" y="2475551"/>
                </a:lnTo>
                <a:lnTo>
                  <a:pt x="11481133" y="2475551"/>
                </a:lnTo>
                <a:lnTo>
                  <a:pt x="11481133" y="2360660"/>
                </a:lnTo>
                <a:close/>
                <a:moveTo>
                  <a:pt x="11282270" y="2360660"/>
                </a:moveTo>
                <a:lnTo>
                  <a:pt x="11282270" y="2475551"/>
                </a:lnTo>
                <a:lnTo>
                  <a:pt x="11290633" y="2475551"/>
                </a:lnTo>
                <a:lnTo>
                  <a:pt x="11290633" y="2409714"/>
                </a:lnTo>
                <a:cubicBezTo>
                  <a:pt x="11291892" y="2408849"/>
                  <a:pt x="11294066" y="2407497"/>
                  <a:pt x="11297154" y="2405656"/>
                </a:cubicBezTo>
                <a:cubicBezTo>
                  <a:pt x="11300243" y="2403815"/>
                  <a:pt x="11303705" y="2402101"/>
                  <a:pt x="11307539" y="2400513"/>
                </a:cubicBezTo>
                <a:cubicBezTo>
                  <a:pt x="11311373" y="2398926"/>
                  <a:pt x="11315038" y="2398082"/>
                  <a:pt x="11318533" y="2397979"/>
                </a:cubicBezTo>
                <a:cubicBezTo>
                  <a:pt x="11324143" y="2398017"/>
                  <a:pt x="11328306" y="2399127"/>
                  <a:pt x="11331024" y="2401309"/>
                </a:cubicBezTo>
                <a:cubicBezTo>
                  <a:pt x="11333742" y="2403492"/>
                  <a:pt x="11335511" y="2406521"/>
                  <a:pt x="11336332" y="2410397"/>
                </a:cubicBezTo>
                <a:cubicBezTo>
                  <a:pt x="11337152" y="2414273"/>
                  <a:pt x="11337521" y="2418769"/>
                  <a:pt x="11337438" y="2423887"/>
                </a:cubicBezTo>
                <a:lnTo>
                  <a:pt x="11337438" y="2475551"/>
                </a:lnTo>
                <a:lnTo>
                  <a:pt x="11345192" y="2475551"/>
                </a:lnTo>
                <a:lnTo>
                  <a:pt x="11345192" y="2421449"/>
                </a:lnTo>
                <a:cubicBezTo>
                  <a:pt x="11345326" y="2416987"/>
                  <a:pt x="11344939" y="2412383"/>
                  <a:pt x="11344030" y="2407636"/>
                </a:cubicBezTo>
                <a:cubicBezTo>
                  <a:pt x="11343121" y="2402889"/>
                  <a:pt x="11340883" y="2398862"/>
                  <a:pt x="11337317" y="2395555"/>
                </a:cubicBezTo>
                <a:cubicBezTo>
                  <a:pt x="11333750" y="2392247"/>
                  <a:pt x="11328048" y="2390522"/>
                  <a:pt x="11320210" y="2390378"/>
                </a:cubicBezTo>
                <a:cubicBezTo>
                  <a:pt x="11313546" y="2390600"/>
                  <a:pt x="11307702" y="2392019"/>
                  <a:pt x="11302677" y="2394636"/>
                </a:cubicBezTo>
                <a:cubicBezTo>
                  <a:pt x="11297652" y="2397253"/>
                  <a:pt x="11293637" y="2399739"/>
                  <a:pt x="11290633" y="2402094"/>
                </a:cubicBezTo>
                <a:lnTo>
                  <a:pt x="11290633" y="2360660"/>
                </a:lnTo>
                <a:close/>
                <a:moveTo>
                  <a:pt x="11044145" y="2360660"/>
                </a:moveTo>
                <a:lnTo>
                  <a:pt x="11044145" y="2475551"/>
                </a:lnTo>
                <a:lnTo>
                  <a:pt x="11052508" y="2475551"/>
                </a:lnTo>
                <a:lnTo>
                  <a:pt x="11052508" y="2409714"/>
                </a:lnTo>
                <a:cubicBezTo>
                  <a:pt x="11053767" y="2408849"/>
                  <a:pt x="11055941" y="2407497"/>
                  <a:pt x="11059029" y="2405656"/>
                </a:cubicBezTo>
                <a:cubicBezTo>
                  <a:pt x="11062118" y="2403815"/>
                  <a:pt x="11065580" y="2402101"/>
                  <a:pt x="11069414" y="2400513"/>
                </a:cubicBezTo>
                <a:cubicBezTo>
                  <a:pt x="11073248" y="2398926"/>
                  <a:pt x="11076913" y="2398082"/>
                  <a:pt x="11080408" y="2397979"/>
                </a:cubicBezTo>
                <a:cubicBezTo>
                  <a:pt x="11086017" y="2398017"/>
                  <a:pt x="11090181" y="2399127"/>
                  <a:pt x="11092899" y="2401309"/>
                </a:cubicBezTo>
                <a:cubicBezTo>
                  <a:pt x="11095617" y="2403492"/>
                  <a:pt x="11097386" y="2406521"/>
                  <a:pt x="11098207" y="2410397"/>
                </a:cubicBezTo>
                <a:cubicBezTo>
                  <a:pt x="11099027" y="2414273"/>
                  <a:pt x="11099396" y="2418769"/>
                  <a:pt x="11099313" y="2423887"/>
                </a:cubicBezTo>
                <a:lnTo>
                  <a:pt x="11099313" y="2475551"/>
                </a:lnTo>
                <a:lnTo>
                  <a:pt x="11107067" y="2475551"/>
                </a:lnTo>
                <a:lnTo>
                  <a:pt x="11107067" y="2421449"/>
                </a:lnTo>
                <a:cubicBezTo>
                  <a:pt x="11107201" y="2416987"/>
                  <a:pt x="11106814" y="2412383"/>
                  <a:pt x="11105905" y="2407636"/>
                </a:cubicBezTo>
                <a:cubicBezTo>
                  <a:pt x="11104996" y="2402889"/>
                  <a:pt x="11102758" y="2398862"/>
                  <a:pt x="11099192" y="2395555"/>
                </a:cubicBezTo>
                <a:cubicBezTo>
                  <a:pt x="11095625" y="2392247"/>
                  <a:pt x="11089923" y="2390522"/>
                  <a:pt x="11082085" y="2390378"/>
                </a:cubicBezTo>
                <a:cubicBezTo>
                  <a:pt x="11075421" y="2390600"/>
                  <a:pt x="11069577" y="2392019"/>
                  <a:pt x="11064552" y="2394636"/>
                </a:cubicBezTo>
                <a:cubicBezTo>
                  <a:pt x="11059527" y="2397253"/>
                  <a:pt x="11055512" y="2399739"/>
                  <a:pt x="11052508" y="2402094"/>
                </a:cubicBezTo>
                <a:lnTo>
                  <a:pt x="11052508" y="2360660"/>
                </a:lnTo>
                <a:close/>
                <a:moveTo>
                  <a:pt x="10548845" y="2360660"/>
                </a:moveTo>
                <a:lnTo>
                  <a:pt x="10548845" y="2475551"/>
                </a:lnTo>
                <a:lnTo>
                  <a:pt x="10557207" y="2475551"/>
                </a:lnTo>
                <a:lnTo>
                  <a:pt x="10557207" y="2409714"/>
                </a:lnTo>
                <a:cubicBezTo>
                  <a:pt x="10558467" y="2408849"/>
                  <a:pt x="10560641" y="2407497"/>
                  <a:pt x="10563729" y="2405656"/>
                </a:cubicBezTo>
                <a:cubicBezTo>
                  <a:pt x="10566818" y="2403815"/>
                  <a:pt x="10570280" y="2402101"/>
                  <a:pt x="10574114" y="2400513"/>
                </a:cubicBezTo>
                <a:cubicBezTo>
                  <a:pt x="10577948" y="2398926"/>
                  <a:pt x="10581613" y="2398082"/>
                  <a:pt x="10585108" y="2397979"/>
                </a:cubicBezTo>
                <a:cubicBezTo>
                  <a:pt x="10590717" y="2398017"/>
                  <a:pt x="10594881" y="2399127"/>
                  <a:pt x="10597599" y="2401309"/>
                </a:cubicBezTo>
                <a:cubicBezTo>
                  <a:pt x="10600317" y="2403492"/>
                  <a:pt x="10602086" y="2406521"/>
                  <a:pt x="10602907" y="2410397"/>
                </a:cubicBezTo>
                <a:cubicBezTo>
                  <a:pt x="10603727" y="2414273"/>
                  <a:pt x="10604096" y="2418769"/>
                  <a:pt x="10604013" y="2423887"/>
                </a:cubicBezTo>
                <a:lnTo>
                  <a:pt x="10604013" y="2475551"/>
                </a:lnTo>
                <a:lnTo>
                  <a:pt x="10611767" y="2475551"/>
                </a:lnTo>
                <a:lnTo>
                  <a:pt x="10611767" y="2421449"/>
                </a:lnTo>
                <a:cubicBezTo>
                  <a:pt x="10611901" y="2416987"/>
                  <a:pt x="10611514" y="2412383"/>
                  <a:pt x="10610605" y="2407636"/>
                </a:cubicBezTo>
                <a:cubicBezTo>
                  <a:pt x="10609696" y="2402889"/>
                  <a:pt x="10607458" y="2398862"/>
                  <a:pt x="10603892" y="2395555"/>
                </a:cubicBezTo>
                <a:cubicBezTo>
                  <a:pt x="10600325" y="2392247"/>
                  <a:pt x="10594623" y="2390522"/>
                  <a:pt x="10586785" y="2390378"/>
                </a:cubicBezTo>
                <a:cubicBezTo>
                  <a:pt x="10580121" y="2390600"/>
                  <a:pt x="10574277" y="2392019"/>
                  <a:pt x="10569252" y="2394636"/>
                </a:cubicBezTo>
                <a:cubicBezTo>
                  <a:pt x="10564227" y="2397253"/>
                  <a:pt x="10560212" y="2399739"/>
                  <a:pt x="10557207" y="2402094"/>
                </a:cubicBezTo>
                <a:lnTo>
                  <a:pt x="10557207" y="2360660"/>
                </a:lnTo>
                <a:close/>
                <a:moveTo>
                  <a:pt x="9989079" y="2360660"/>
                </a:moveTo>
                <a:lnTo>
                  <a:pt x="9989079" y="2392658"/>
                </a:lnTo>
                <a:cubicBezTo>
                  <a:pt x="9985928" y="2391625"/>
                  <a:pt x="9983159" y="2390954"/>
                  <a:pt x="9980770" y="2390644"/>
                </a:cubicBezTo>
                <a:cubicBezTo>
                  <a:pt x="9978381" y="2390333"/>
                  <a:pt x="9975154" y="2390194"/>
                  <a:pt x="9971089" y="2390226"/>
                </a:cubicBezTo>
                <a:cubicBezTo>
                  <a:pt x="9964141" y="2390233"/>
                  <a:pt x="9957813" y="2391910"/>
                  <a:pt x="9952105" y="2395256"/>
                </a:cubicBezTo>
                <a:cubicBezTo>
                  <a:pt x="9946397" y="2398602"/>
                  <a:pt x="9941832" y="2403573"/>
                  <a:pt x="9938411" y="2410170"/>
                </a:cubicBezTo>
                <a:cubicBezTo>
                  <a:pt x="9934990" y="2416768"/>
                  <a:pt x="9933236" y="2424947"/>
                  <a:pt x="9933149" y="2434708"/>
                </a:cubicBezTo>
                <a:cubicBezTo>
                  <a:pt x="9933299" y="2446894"/>
                  <a:pt x="9935164" y="2456043"/>
                  <a:pt x="9938744" y="2462157"/>
                </a:cubicBezTo>
                <a:cubicBezTo>
                  <a:pt x="9942324" y="2468271"/>
                  <a:pt x="9946718" y="2472326"/>
                  <a:pt x="9951924" y="2474323"/>
                </a:cubicBezTo>
                <a:cubicBezTo>
                  <a:pt x="9957130" y="2476321"/>
                  <a:pt x="9962248" y="2477238"/>
                  <a:pt x="9967277" y="2477075"/>
                </a:cubicBezTo>
                <a:cubicBezTo>
                  <a:pt x="9971673" y="2476961"/>
                  <a:pt x="9975764" y="2475897"/>
                  <a:pt x="9979550" y="2473882"/>
                </a:cubicBezTo>
                <a:cubicBezTo>
                  <a:pt x="9983336" y="2471867"/>
                  <a:pt x="9986513" y="2469584"/>
                  <a:pt x="9989079" y="2467035"/>
                </a:cubicBezTo>
                <a:lnTo>
                  <a:pt x="9989079" y="2475551"/>
                </a:lnTo>
                <a:lnTo>
                  <a:pt x="9997442" y="2475551"/>
                </a:lnTo>
                <a:lnTo>
                  <a:pt x="9997442" y="2360660"/>
                </a:lnTo>
                <a:close/>
                <a:moveTo>
                  <a:pt x="9893599" y="2359441"/>
                </a:moveTo>
                <a:lnTo>
                  <a:pt x="9886586" y="2366451"/>
                </a:lnTo>
                <a:lnTo>
                  <a:pt x="9893599" y="2373614"/>
                </a:lnTo>
                <a:lnTo>
                  <a:pt x="9900755" y="2366451"/>
                </a:lnTo>
                <a:close/>
                <a:moveTo>
                  <a:pt x="9862496" y="2359441"/>
                </a:moveTo>
                <a:lnTo>
                  <a:pt x="9855483" y="2366451"/>
                </a:lnTo>
                <a:lnTo>
                  <a:pt x="9862496" y="2373614"/>
                </a:lnTo>
                <a:lnTo>
                  <a:pt x="9869509" y="2366451"/>
                </a:lnTo>
                <a:close/>
                <a:moveTo>
                  <a:pt x="10371823" y="2358222"/>
                </a:moveTo>
                <a:lnTo>
                  <a:pt x="10363755" y="2366488"/>
                </a:lnTo>
                <a:lnTo>
                  <a:pt x="10371823" y="2374907"/>
                </a:lnTo>
                <a:lnTo>
                  <a:pt x="10380195" y="2366488"/>
                </a:lnTo>
                <a:close/>
                <a:moveTo>
                  <a:pt x="9621434" y="2075360"/>
                </a:moveTo>
                <a:lnTo>
                  <a:pt x="9621434" y="2206965"/>
                </a:lnTo>
                <a:lnTo>
                  <a:pt x="9480172" y="2206965"/>
                </a:lnTo>
                <a:lnTo>
                  <a:pt x="9480172" y="2232874"/>
                </a:lnTo>
                <a:lnTo>
                  <a:pt x="9621434" y="2232874"/>
                </a:lnTo>
                <a:lnTo>
                  <a:pt x="9621434" y="2366489"/>
                </a:lnTo>
                <a:lnTo>
                  <a:pt x="9651580" y="2366489"/>
                </a:lnTo>
                <a:lnTo>
                  <a:pt x="9651580" y="2075360"/>
                </a:lnTo>
                <a:close/>
                <a:moveTo>
                  <a:pt x="9412024" y="2075360"/>
                </a:moveTo>
                <a:lnTo>
                  <a:pt x="9412024" y="2366489"/>
                </a:lnTo>
                <a:lnTo>
                  <a:pt x="9442170" y="2366489"/>
                </a:lnTo>
                <a:lnTo>
                  <a:pt x="9442170" y="2075360"/>
                </a:lnTo>
                <a:close/>
                <a:moveTo>
                  <a:pt x="9146104" y="2075360"/>
                </a:moveTo>
                <a:lnTo>
                  <a:pt x="9146104" y="2366489"/>
                </a:lnTo>
                <a:lnTo>
                  <a:pt x="9176607" y="2366489"/>
                </a:lnTo>
                <a:lnTo>
                  <a:pt x="9176607" y="2101533"/>
                </a:lnTo>
                <a:lnTo>
                  <a:pt x="9241023" y="2101533"/>
                </a:lnTo>
                <a:lnTo>
                  <a:pt x="9251430" y="2102071"/>
                </a:lnTo>
                <a:lnTo>
                  <a:pt x="9260760" y="2103326"/>
                </a:lnTo>
                <a:lnTo>
                  <a:pt x="9269552" y="2105298"/>
                </a:lnTo>
                <a:lnTo>
                  <a:pt x="9277447" y="2108166"/>
                </a:lnTo>
                <a:lnTo>
                  <a:pt x="9284265" y="2111931"/>
                </a:lnTo>
                <a:lnTo>
                  <a:pt x="9290545" y="2116592"/>
                </a:lnTo>
                <a:lnTo>
                  <a:pt x="9295749" y="2121970"/>
                </a:lnTo>
                <a:lnTo>
                  <a:pt x="9300235" y="2128244"/>
                </a:lnTo>
                <a:lnTo>
                  <a:pt x="9303823" y="2135415"/>
                </a:lnTo>
                <a:lnTo>
                  <a:pt x="9306515" y="2143302"/>
                </a:lnTo>
                <a:lnTo>
                  <a:pt x="9308847" y="2151907"/>
                </a:lnTo>
                <a:lnTo>
                  <a:pt x="9309744" y="2161587"/>
                </a:lnTo>
                <a:lnTo>
                  <a:pt x="9310283" y="2171806"/>
                </a:lnTo>
                <a:lnTo>
                  <a:pt x="9309744" y="2181665"/>
                </a:lnTo>
                <a:lnTo>
                  <a:pt x="9308309" y="2190629"/>
                </a:lnTo>
                <a:lnTo>
                  <a:pt x="9305797" y="2198696"/>
                </a:lnTo>
                <a:lnTo>
                  <a:pt x="9302388" y="2206225"/>
                </a:lnTo>
                <a:lnTo>
                  <a:pt x="9298440" y="2212858"/>
                </a:lnTo>
                <a:lnTo>
                  <a:pt x="9293237" y="2218774"/>
                </a:lnTo>
                <a:lnTo>
                  <a:pt x="9287495" y="2224152"/>
                </a:lnTo>
                <a:lnTo>
                  <a:pt x="9281394" y="2228633"/>
                </a:lnTo>
                <a:lnTo>
                  <a:pt x="9274217" y="2232577"/>
                </a:lnTo>
                <a:lnTo>
                  <a:pt x="9266502" y="2235625"/>
                </a:lnTo>
                <a:lnTo>
                  <a:pt x="9258427" y="2238134"/>
                </a:lnTo>
                <a:lnTo>
                  <a:pt x="9249994" y="2239748"/>
                </a:lnTo>
                <a:lnTo>
                  <a:pt x="9240843" y="2240823"/>
                </a:lnTo>
                <a:lnTo>
                  <a:pt x="9231333" y="2241361"/>
                </a:lnTo>
                <a:lnTo>
                  <a:pt x="9221824" y="2241361"/>
                </a:lnTo>
                <a:lnTo>
                  <a:pt x="9221824" y="2268430"/>
                </a:lnTo>
                <a:lnTo>
                  <a:pt x="9228642" y="2268430"/>
                </a:lnTo>
                <a:lnTo>
                  <a:pt x="9242279" y="2268072"/>
                </a:lnTo>
                <a:lnTo>
                  <a:pt x="9254839" y="2266458"/>
                </a:lnTo>
                <a:lnTo>
                  <a:pt x="9266502" y="2264307"/>
                </a:lnTo>
                <a:lnTo>
                  <a:pt x="9277447" y="2261080"/>
                </a:lnTo>
                <a:lnTo>
                  <a:pt x="9287495" y="2257137"/>
                </a:lnTo>
                <a:lnTo>
                  <a:pt x="9296467" y="2252655"/>
                </a:lnTo>
                <a:lnTo>
                  <a:pt x="9304900" y="2247277"/>
                </a:lnTo>
                <a:lnTo>
                  <a:pt x="9312256" y="2241540"/>
                </a:lnTo>
                <a:lnTo>
                  <a:pt x="9318716" y="2234908"/>
                </a:lnTo>
                <a:lnTo>
                  <a:pt x="9324458" y="2227916"/>
                </a:lnTo>
                <a:lnTo>
                  <a:pt x="9329302" y="2220566"/>
                </a:lnTo>
                <a:lnTo>
                  <a:pt x="9333609" y="2212858"/>
                </a:lnTo>
                <a:lnTo>
                  <a:pt x="9337018" y="2204611"/>
                </a:lnTo>
                <a:lnTo>
                  <a:pt x="9339530" y="2196186"/>
                </a:lnTo>
                <a:lnTo>
                  <a:pt x="9341504" y="2187581"/>
                </a:lnTo>
                <a:lnTo>
                  <a:pt x="9342401" y="2178618"/>
                </a:lnTo>
                <a:lnTo>
                  <a:pt x="9342939" y="2169834"/>
                </a:lnTo>
                <a:lnTo>
                  <a:pt x="9342221" y="2157644"/>
                </a:lnTo>
                <a:lnTo>
                  <a:pt x="9340786" y="2146350"/>
                </a:lnTo>
                <a:lnTo>
                  <a:pt x="9337915" y="2135415"/>
                </a:lnTo>
                <a:lnTo>
                  <a:pt x="9334506" y="2125555"/>
                </a:lnTo>
                <a:lnTo>
                  <a:pt x="9329841" y="2116412"/>
                </a:lnTo>
                <a:lnTo>
                  <a:pt x="9324458" y="2108166"/>
                </a:lnTo>
                <a:lnTo>
                  <a:pt x="9317998" y="2100816"/>
                </a:lnTo>
                <a:lnTo>
                  <a:pt x="9310821" y="2094004"/>
                </a:lnTo>
                <a:lnTo>
                  <a:pt x="9302567" y="2088626"/>
                </a:lnTo>
                <a:lnTo>
                  <a:pt x="9293775" y="2083965"/>
                </a:lnTo>
                <a:lnTo>
                  <a:pt x="9283906" y="2080200"/>
                </a:lnTo>
                <a:lnTo>
                  <a:pt x="9273141" y="2077511"/>
                </a:lnTo>
                <a:lnTo>
                  <a:pt x="9262016" y="2075719"/>
                </a:lnTo>
                <a:lnTo>
                  <a:pt x="9249994" y="2075360"/>
                </a:lnTo>
                <a:close/>
                <a:moveTo>
                  <a:pt x="9845603" y="2008672"/>
                </a:moveTo>
                <a:lnTo>
                  <a:pt x="9832158" y="2009389"/>
                </a:lnTo>
                <a:lnTo>
                  <a:pt x="9819430" y="2011720"/>
                </a:lnTo>
                <a:lnTo>
                  <a:pt x="9807061" y="2015484"/>
                </a:lnTo>
                <a:lnTo>
                  <a:pt x="9795050" y="2020325"/>
                </a:lnTo>
                <a:lnTo>
                  <a:pt x="9784294" y="2026599"/>
                </a:lnTo>
                <a:lnTo>
                  <a:pt x="9773896" y="2033949"/>
                </a:lnTo>
                <a:lnTo>
                  <a:pt x="9764754" y="2042374"/>
                </a:lnTo>
                <a:lnTo>
                  <a:pt x="9756328" y="2051696"/>
                </a:lnTo>
                <a:lnTo>
                  <a:pt x="9748978" y="2061914"/>
                </a:lnTo>
                <a:lnTo>
                  <a:pt x="9742704" y="2073029"/>
                </a:lnTo>
                <a:lnTo>
                  <a:pt x="9737864" y="2084681"/>
                </a:lnTo>
                <a:lnTo>
                  <a:pt x="9734099" y="2097051"/>
                </a:lnTo>
                <a:lnTo>
                  <a:pt x="9731948" y="2109958"/>
                </a:lnTo>
                <a:lnTo>
                  <a:pt x="9731231" y="2123224"/>
                </a:lnTo>
                <a:lnTo>
                  <a:pt x="9731948" y="2136669"/>
                </a:lnTo>
                <a:lnTo>
                  <a:pt x="9734099" y="2149576"/>
                </a:lnTo>
                <a:lnTo>
                  <a:pt x="9737864" y="2161945"/>
                </a:lnTo>
                <a:lnTo>
                  <a:pt x="9742704" y="2173777"/>
                </a:lnTo>
                <a:lnTo>
                  <a:pt x="9748978" y="2184712"/>
                </a:lnTo>
                <a:lnTo>
                  <a:pt x="9756328" y="2195110"/>
                </a:lnTo>
                <a:lnTo>
                  <a:pt x="9764754" y="2204252"/>
                </a:lnTo>
                <a:lnTo>
                  <a:pt x="9773896" y="2212678"/>
                </a:lnTo>
                <a:lnTo>
                  <a:pt x="9784294" y="2220028"/>
                </a:lnTo>
                <a:lnTo>
                  <a:pt x="9795050" y="2226123"/>
                </a:lnTo>
                <a:lnTo>
                  <a:pt x="9807061" y="2231142"/>
                </a:lnTo>
                <a:lnTo>
                  <a:pt x="9819430" y="2234907"/>
                </a:lnTo>
                <a:lnTo>
                  <a:pt x="9832158" y="2237058"/>
                </a:lnTo>
                <a:lnTo>
                  <a:pt x="9845603" y="2237775"/>
                </a:lnTo>
                <a:lnTo>
                  <a:pt x="9858869" y="2237058"/>
                </a:lnTo>
                <a:lnTo>
                  <a:pt x="9871776" y="2234907"/>
                </a:lnTo>
                <a:lnTo>
                  <a:pt x="9884145" y="2231142"/>
                </a:lnTo>
                <a:lnTo>
                  <a:pt x="9895618" y="2226123"/>
                </a:lnTo>
                <a:lnTo>
                  <a:pt x="9906733" y="2220028"/>
                </a:lnTo>
                <a:lnTo>
                  <a:pt x="9916951" y="2212678"/>
                </a:lnTo>
                <a:lnTo>
                  <a:pt x="9926273" y="2204252"/>
                </a:lnTo>
                <a:lnTo>
                  <a:pt x="9934698" y="2195110"/>
                </a:lnTo>
                <a:lnTo>
                  <a:pt x="9942228" y="2184712"/>
                </a:lnTo>
                <a:lnTo>
                  <a:pt x="9948323" y="2173777"/>
                </a:lnTo>
                <a:lnTo>
                  <a:pt x="9953342" y="2161945"/>
                </a:lnTo>
                <a:lnTo>
                  <a:pt x="9956927" y="2149576"/>
                </a:lnTo>
                <a:lnTo>
                  <a:pt x="9959258" y="2136669"/>
                </a:lnTo>
                <a:lnTo>
                  <a:pt x="9959975" y="2123224"/>
                </a:lnTo>
                <a:lnTo>
                  <a:pt x="9959258" y="2109958"/>
                </a:lnTo>
                <a:lnTo>
                  <a:pt x="9956927" y="2097051"/>
                </a:lnTo>
                <a:lnTo>
                  <a:pt x="9953342" y="2084681"/>
                </a:lnTo>
                <a:lnTo>
                  <a:pt x="9948323" y="2073029"/>
                </a:lnTo>
                <a:lnTo>
                  <a:pt x="9942228" y="2061914"/>
                </a:lnTo>
                <a:lnTo>
                  <a:pt x="9934698" y="2051696"/>
                </a:lnTo>
                <a:lnTo>
                  <a:pt x="9926273" y="2042374"/>
                </a:lnTo>
                <a:lnTo>
                  <a:pt x="9916951" y="2033949"/>
                </a:lnTo>
                <a:lnTo>
                  <a:pt x="9906733" y="2026599"/>
                </a:lnTo>
                <a:lnTo>
                  <a:pt x="9895618" y="2020325"/>
                </a:lnTo>
                <a:lnTo>
                  <a:pt x="9884145" y="2015484"/>
                </a:lnTo>
                <a:lnTo>
                  <a:pt x="9871776" y="2011720"/>
                </a:lnTo>
                <a:lnTo>
                  <a:pt x="9858869" y="2009389"/>
                </a:lnTo>
                <a:close/>
                <a:moveTo>
                  <a:pt x="8820543" y="873990"/>
                </a:moveTo>
                <a:lnTo>
                  <a:pt x="8719234" y="1126424"/>
                </a:lnTo>
                <a:cubicBezTo>
                  <a:pt x="8310604" y="2030226"/>
                  <a:pt x="7678189" y="2811194"/>
                  <a:pt x="6892652" y="3398661"/>
                </a:cubicBezTo>
                <a:lnTo>
                  <a:pt x="6849989" y="3428999"/>
                </a:lnTo>
                <a:lnTo>
                  <a:pt x="6770384" y="3428999"/>
                </a:lnTo>
                <a:lnTo>
                  <a:pt x="6787445" y="3317212"/>
                </a:lnTo>
                <a:cubicBezTo>
                  <a:pt x="7011922" y="2220221"/>
                  <a:pt x="7769356" y="1317368"/>
                  <a:pt x="8777397" y="891002"/>
                </a:cubicBezTo>
                <a:close/>
                <a:moveTo>
                  <a:pt x="10089269" y="626147"/>
                </a:moveTo>
                <a:cubicBezTo>
                  <a:pt x="10787281" y="626147"/>
                  <a:pt x="11435731" y="838341"/>
                  <a:pt x="11973634" y="1201741"/>
                </a:cubicBezTo>
                <a:lnTo>
                  <a:pt x="12188824" y="1362657"/>
                </a:lnTo>
                <a:lnTo>
                  <a:pt x="12188824" y="3428999"/>
                </a:lnTo>
                <a:lnTo>
                  <a:pt x="6877215" y="3428999"/>
                </a:lnTo>
                <a:lnTo>
                  <a:pt x="6902095" y="3411307"/>
                </a:lnTo>
                <a:cubicBezTo>
                  <a:pt x="7689758" y="2822250"/>
                  <a:pt x="8323886" y="2039168"/>
                  <a:pt x="8733622" y="1132919"/>
                </a:cubicBezTo>
                <a:lnTo>
                  <a:pt x="8840732" y="866030"/>
                </a:lnTo>
                <a:lnTo>
                  <a:pt x="8930448" y="830656"/>
                </a:lnTo>
                <a:cubicBezTo>
                  <a:pt x="9291787" y="698352"/>
                  <a:pt x="9682096" y="626147"/>
                  <a:pt x="10089269" y="626147"/>
                </a:cubicBezTo>
                <a:close/>
                <a:moveTo>
                  <a:pt x="9109381" y="0"/>
                </a:moveTo>
                <a:lnTo>
                  <a:pt x="12188824" y="0"/>
                </a:lnTo>
                <a:lnTo>
                  <a:pt x="12188824" y="1345096"/>
                </a:lnTo>
                <a:lnTo>
                  <a:pt x="11981506" y="1190067"/>
                </a:lnTo>
                <a:cubicBezTo>
                  <a:pt x="11441356" y="825149"/>
                  <a:pt x="10790196" y="612068"/>
                  <a:pt x="10089269" y="612068"/>
                </a:cubicBezTo>
                <a:cubicBezTo>
                  <a:pt x="9680395" y="612068"/>
                  <a:pt x="9288455" y="684575"/>
                  <a:pt x="8925607" y="817431"/>
                </a:cubicBezTo>
                <a:lnTo>
                  <a:pt x="8847948" y="848052"/>
                </a:lnTo>
                <a:lnTo>
                  <a:pt x="8919462" y="669858"/>
                </a:lnTo>
                <a:cubicBezTo>
                  <a:pt x="8974957" y="512302"/>
                  <a:pt x="9023891" y="351652"/>
                  <a:pt x="9065936" y="188237"/>
                </a:cubicBezTo>
                <a:close/>
                <a:moveTo>
                  <a:pt x="0" y="0"/>
                </a:moveTo>
                <a:lnTo>
                  <a:pt x="9093185" y="0"/>
                </a:lnTo>
                <a:lnTo>
                  <a:pt x="9050651" y="184293"/>
                </a:lnTo>
                <a:cubicBezTo>
                  <a:pt x="9008720" y="347267"/>
                  <a:pt x="8959918" y="507482"/>
                  <a:pt x="8904573" y="664613"/>
                </a:cubicBezTo>
                <a:lnTo>
                  <a:pt x="8827758" y="856012"/>
                </a:lnTo>
                <a:lnTo>
                  <a:pt x="8771917" y="878029"/>
                </a:lnTo>
                <a:cubicBezTo>
                  <a:pt x="7759665" y="1306176"/>
                  <a:pt x="6999067" y="2212801"/>
                  <a:pt x="6773652" y="3314375"/>
                </a:cubicBezTo>
                <a:lnTo>
                  <a:pt x="6756158" y="3428999"/>
                </a:lnTo>
                <a:lnTo>
                  <a:pt x="0" y="3428999"/>
                </a:lnTo>
                <a:close/>
              </a:path>
            </a:pathLst>
          </a:custGeom>
          <a:solidFill>
            <a:schemeClr val="accent1"/>
          </a:solidFill>
        </p:spPr>
        <p:txBody>
          <a:bodyPr wrap="square" lIns="540000" rIns="3816000" bIns="2052000" anchor="b" anchorCtr="0">
            <a:noAutofit/>
          </a:bodyPr>
          <a:lstStyle>
            <a:lvl1pPr algn="l">
              <a:defRPr sz="22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6541" y="3969309"/>
            <a:ext cx="9293311" cy="420947"/>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9" name="Bildplatzhalter 28"/>
          <p:cNvSpPr>
            <a:spLocks noGrp="1"/>
          </p:cNvSpPr>
          <p:nvPr>
            <p:ph type="pic" sz="quarter" idx="10" hasCustomPrompt="1"/>
          </p:nvPr>
        </p:nvSpPr>
        <p:spPr>
          <a:xfrm>
            <a:off x="0" y="0"/>
            <a:ext cx="12192000" cy="3429000"/>
          </a:xfrm>
          <a:custGeom>
            <a:avLst/>
            <a:gdLst>
              <a:gd name="connsiteX0" fmla="*/ 8840590 w 12192000"/>
              <a:gd name="connsiteY0" fmla="*/ 0 h 3429000"/>
              <a:gd name="connsiteX1" fmla="*/ 12192000 w 12192000"/>
              <a:gd name="connsiteY1" fmla="*/ 0 h 3429000"/>
              <a:gd name="connsiteX2" fmla="*/ 12192000 w 12192000"/>
              <a:gd name="connsiteY2" fmla="*/ 3429000 h 3429000"/>
              <a:gd name="connsiteX3" fmla="*/ 9112556 w 12192000"/>
              <a:gd name="connsiteY3" fmla="*/ 3429000 h 3429000"/>
              <a:gd name="connsiteX4" fmla="*/ 9134378 w 12192000"/>
              <a:gd name="connsiteY4" fmla="*/ 3334450 h 3429000"/>
              <a:gd name="connsiteX5" fmla="*/ 9253128 w 12192000"/>
              <a:gd name="connsiteY5" fmla="*/ 2156471 h 3429000"/>
              <a:gd name="connsiteX6" fmla="*/ 8898453 w 12192000"/>
              <a:gd name="connsiteY6" fmla="*/ 146751 h 3429000"/>
              <a:gd name="connsiteX7" fmla="*/ 0 w 12192000"/>
              <a:gd name="connsiteY7" fmla="*/ 0 h 3429000"/>
              <a:gd name="connsiteX8" fmla="*/ 8823627 w 12192000"/>
              <a:gd name="connsiteY8" fmla="*/ 0 h 3429000"/>
              <a:gd name="connsiteX9" fmla="*/ 8883628 w 12192000"/>
              <a:gd name="connsiteY9" fmla="*/ 152178 h 3429000"/>
              <a:gd name="connsiteX10" fmla="*/ 9237346 w 12192000"/>
              <a:gd name="connsiteY10" fmla="*/ 2156471 h 3429000"/>
              <a:gd name="connsiteX11" fmla="*/ 9118916 w 12192000"/>
              <a:gd name="connsiteY11" fmla="*/ 3331270 h 3429000"/>
              <a:gd name="connsiteX12" fmla="*/ 9096360 w 12192000"/>
              <a:gd name="connsiteY12" fmla="*/ 3429000 h 3429000"/>
              <a:gd name="connsiteX13" fmla="*/ 0 w 12192000"/>
              <a:gd name="connsiteY13"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3429000">
                <a:moveTo>
                  <a:pt x="8840590" y="0"/>
                </a:moveTo>
                <a:lnTo>
                  <a:pt x="12192000" y="0"/>
                </a:lnTo>
                <a:lnTo>
                  <a:pt x="12192000" y="3429000"/>
                </a:lnTo>
                <a:lnTo>
                  <a:pt x="9112556" y="3429000"/>
                </a:lnTo>
                <a:lnTo>
                  <a:pt x="9134378" y="3334450"/>
                </a:lnTo>
                <a:cubicBezTo>
                  <a:pt x="9212239" y="2953952"/>
                  <a:pt x="9253128" y="2559987"/>
                  <a:pt x="9253128" y="2156471"/>
                </a:cubicBezTo>
                <a:cubicBezTo>
                  <a:pt x="9253128" y="1450319"/>
                  <a:pt x="9127905" y="773414"/>
                  <a:pt x="8898453" y="146751"/>
                </a:cubicBezTo>
                <a:close/>
                <a:moveTo>
                  <a:pt x="0" y="0"/>
                </a:moveTo>
                <a:lnTo>
                  <a:pt x="8823627" y="0"/>
                </a:lnTo>
                <a:lnTo>
                  <a:pt x="8883628" y="152178"/>
                </a:lnTo>
                <a:cubicBezTo>
                  <a:pt x="9112461" y="777148"/>
                  <a:pt x="9237346" y="1452225"/>
                  <a:pt x="9237346" y="2156471"/>
                </a:cubicBezTo>
                <a:cubicBezTo>
                  <a:pt x="9237346" y="2558897"/>
                  <a:pt x="9196567" y="2951799"/>
                  <a:pt x="9118916" y="3331270"/>
                </a:cubicBezTo>
                <a:lnTo>
                  <a:pt x="9096360" y="3429000"/>
                </a:lnTo>
                <a:lnTo>
                  <a:pt x="0" y="3429000"/>
                </a:lnTo>
                <a:close/>
              </a:path>
            </a:pathLst>
          </a:custGeom>
        </p:spPr>
        <p:txBody>
          <a:bodyPr wrap="square">
            <a:noAutofit/>
          </a:bodyPr>
          <a:lstStyle>
            <a:lvl1pPr>
              <a:defRPr baseline="0"/>
            </a:lvl1pPr>
          </a:lstStyle>
          <a:p>
            <a:r>
              <a:rPr lang="de-DE" noProof="0" dirty="0"/>
              <a:t>Hier klicken, um ein Bild Ihrer Wahl einzufügen</a:t>
            </a:r>
          </a:p>
        </p:txBody>
      </p:sp>
      <p:sp>
        <p:nvSpPr>
          <p:cNvPr id="10" name="Freeform 9"/>
          <p:cNvSpPr>
            <a:spLocks/>
          </p:cNvSpPr>
          <p:nvPr userDrawn="1"/>
        </p:nvSpPr>
        <p:spPr bwMode="auto">
          <a:xfrm>
            <a:off x="9771694" y="5507587"/>
            <a:ext cx="64895" cy="8927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chemeClr val="accent1"/>
              </a:solidFill>
            </a:endParaRPr>
          </a:p>
        </p:txBody>
      </p:sp>
      <p:sp>
        <p:nvSpPr>
          <p:cNvPr id="12" name="Freeform 10"/>
          <p:cNvSpPr>
            <a:spLocks/>
          </p:cNvSpPr>
          <p:nvPr userDrawn="1"/>
        </p:nvSpPr>
        <p:spPr bwMode="auto">
          <a:xfrm>
            <a:off x="9849853" y="5507587"/>
            <a:ext cx="75650" cy="8927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chemeClr val="accent1"/>
              </a:solidFill>
            </a:endParaRPr>
          </a:p>
        </p:txBody>
      </p:sp>
      <p:sp>
        <p:nvSpPr>
          <p:cNvPr id="8" name="Untertitel 2">
            <a:extLst>
              <a:ext uri="{FF2B5EF4-FFF2-40B4-BE49-F238E27FC236}">
                <a16:creationId xmlns:a16="http://schemas.microsoft.com/office/drawing/2014/main" id="{A6466BAF-8A2C-A949-B060-1A79C8629A37}"/>
              </a:ext>
            </a:extLst>
          </p:cNvPr>
          <p:cNvSpPr txBox="1">
            <a:spLocks/>
          </p:cNvSpPr>
          <p:nvPr userDrawn="1"/>
        </p:nvSpPr>
        <p:spPr>
          <a:xfrm>
            <a:off x="556542" y="5092806"/>
            <a:ext cx="6282814" cy="1008112"/>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Clr>
                <a:schemeClr val="accent1"/>
              </a:buClr>
              <a:buFont typeface="Wingdings" pitchFamily="2" charset="2"/>
              <a:buNone/>
              <a:defRPr sz="2400" kern="1200">
                <a:solidFill>
                  <a:schemeClr val="bg1"/>
                </a:solidFill>
                <a:latin typeface="+mn-lt"/>
                <a:ea typeface="+mn-ea"/>
                <a:cs typeface="+mn-cs"/>
              </a:defRPr>
            </a:lvl1pPr>
            <a:lvl2pPr marL="457200" indent="0" algn="ctr" defTabSz="914400" rtl="0" eaLnBrk="1" latinLnBrk="0" hangingPunct="1">
              <a:lnSpc>
                <a:spcPct val="100000"/>
              </a:lnSpc>
              <a:spcBef>
                <a:spcPts val="600"/>
              </a:spcBef>
              <a:buFont typeface="Wingdings" pitchFamily="2" charset="2"/>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Font typeface="Courier New" panose="02070309020205020404" pitchFamily="49"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6pPr>
            <a:lvl7pPr marL="27432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7pPr>
            <a:lvl8pPr marL="32004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8pPr>
            <a:lvl9pPr marL="36576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9pPr>
          </a:lstStyle>
          <a:p>
            <a:r>
              <a:rPr lang="de-DE" dirty="0"/>
              <a:t>Master-Untertitelformat bearbeiten</a:t>
            </a:r>
            <a:endParaRPr lang="en-US" dirty="0"/>
          </a:p>
        </p:txBody>
      </p:sp>
      <p:sp>
        <p:nvSpPr>
          <p:cNvPr id="17" name="Abgerundetes Rechteck 16">
            <a:extLst>
              <a:ext uri="{FF2B5EF4-FFF2-40B4-BE49-F238E27FC236}">
                <a16:creationId xmlns:a16="http://schemas.microsoft.com/office/drawing/2014/main" id="{5AA091A9-707F-704D-982A-412E64209DDA}"/>
              </a:ext>
            </a:extLst>
          </p:cNvPr>
          <p:cNvSpPr/>
          <p:nvPr userDrawn="1"/>
        </p:nvSpPr>
        <p:spPr>
          <a:xfrm>
            <a:off x="9756071" y="6243331"/>
            <a:ext cx="1884032" cy="475589"/>
          </a:xfrm>
          <a:prstGeom prst="roundRect">
            <a:avLst/>
          </a:prstGeom>
          <a:solidFill>
            <a:schemeClr val="bg2"/>
          </a:solidFill>
          <a:ln>
            <a:solidFill>
              <a:srgbClr val="425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pic>
        <p:nvPicPr>
          <p:cNvPr id="19" name="Grafik 18" descr="Chevron Pfeile">
            <a:hlinkClick r:id="" action="ppaction://hlinkshowjump?jump=nextslide"/>
            <a:extLst>
              <a:ext uri="{FF2B5EF4-FFF2-40B4-BE49-F238E27FC236}">
                <a16:creationId xmlns:a16="http://schemas.microsoft.com/office/drawing/2014/main" id="{CD9A4EC0-8334-174D-AD51-1E0786D5CE0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165925" y="6281851"/>
            <a:ext cx="418658" cy="418658"/>
          </a:xfrm>
          <a:prstGeom prst="rect">
            <a:avLst/>
          </a:prstGeom>
        </p:spPr>
      </p:pic>
      <p:pic>
        <p:nvPicPr>
          <p:cNvPr id="20" name="Grafik 19" descr="Chevronpfeile RNL">
            <a:hlinkClick r:id="" action="ppaction://hlinkshowjump?jump=previousslide"/>
            <a:extLst>
              <a:ext uri="{FF2B5EF4-FFF2-40B4-BE49-F238E27FC236}">
                <a16:creationId xmlns:a16="http://schemas.microsoft.com/office/drawing/2014/main" id="{3F9FFBB7-B342-2A4E-9F44-97213201255D}"/>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823609" y="6281851"/>
            <a:ext cx="418658" cy="418658"/>
          </a:xfrm>
          <a:prstGeom prst="rect">
            <a:avLst/>
          </a:prstGeom>
        </p:spPr>
      </p:pic>
      <p:pic>
        <p:nvPicPr>
          <p:cNvPr id="21" name="Grafik 20" descr="Zuhause">
            <a:hlinkClick r:id="" action="ppaction://hlinkshowjump?jump=firstslide"/>
            <a:extLst>
              <a:ext uri="{FF2B5EF4-FFF2-40B4-BE49-F238E27FC236}">
                <a16:creationId xmlns:a16="http://schemas.microsoft.com/office/drawing/2014/main" id="{00D631D8-B331-9849-B3C5-28F82BF49B21}"/>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329292" y="6281851"/>
            <a:ext cx="367685" cy="367685"/>
          </a:xfrm>
          <a:prstGeom prst="rect">
            <a:avLst/>
          </a:prstGeom>
        </p:spPr>
      </p:pic>
      <p:sp>
        <p:nvSpPr>
          <p:cNvPr id="22" name="Textfeld 21">
            <a:hlinkClick r:id="rId12" action="ppaction://hlinksldjump"/>
            <a:extLst>
              <a:ext uri="{FF2B5EF4-FFF2-40B4-BE49-F238E27FC236}">
                <a16:creationId xmlns:a16="http://schemas.microsoft.com/office/drawing/2014/main" id="{51C52689-E376-BE4D-B917-4E1BED4B2032}"/>
              </a:ext>
            </a:extLst>
          </p:cNvPr>
          <p:cNvSpPr txBox="1"/>
          <p:nvPr userDrawn="1"/>
        </p:nvSpPr>
        <p:spPr>
          <a:xfrm>
            <a:off x="10784002" y="6322201"/>
            <a:ext cx="294897" cy="289345"/>
          </a:xfrm>
          <a:custGeom>
            <a:avLst/>
            <a:gdLst/>
            <a:ahLst/>
            <a:cxnLst/>
            <a:rect l="l" t="t" r="r" b="b"/>
            <a:pathLst>
              <a:path w="889852" h="889852">
                <a:moveTo>
                  <a:pt x="444926" y="0"/>
                </a:moveTo>
                <a:cubicBezTo>
                  <a:pt x="690652" y="0"/>
                  <a:pt x="889852" y="199200"/>
                  <a:pt x="889852" y="444926"/>
                </a:cubicBezTo>
                <a:cubicBezTo>
                  <a:pt x="889852" y="690652"/>
                  <a:pt x="690652" y="889852"/>
                  <a:pt x="444926" y="889852"/>
                </a:cubicBezTo>
                <a:cubicBezTo>
                  <a:pt x="199200" y="889852"/>
                  <a:pt x="0" y="690652"/>
                  <a:pt x="0" y="444926"/>
                </a:cubicBezTo>
                <a:cubicBezTo>
                  <a:pt x="0" y="199200"/>
                  <a:pt x="199200" y="0"/>
                  <a:pt x="444926" y="0"/>
                </a:cubicBezTo>
                <a:close/>
                <a:moveTo>
                  <a:pt x="382813" y="227974"/>
                </a:moveTo>
                <a:lnTo>
                  <a:pt x="382813" y="303983"/>
                </a:lnTo>
                <a:lnTo>
                  <a:pt x="494494" y="303983"/>
                </a:lnTo>
                <a:lnTo>
                  <a:pt x="494494" y="227974"/>
                </a:lnTo>
                <a:lnTo>
                  <a:pt x="382813" y="227974"/>
                </a:lnTo>
                <a:close/>
                <a:moveTo>
                  <a:pt x="382813" y="338832"/>
                </a:moveTo>
                <a:lnTo>
                  <a:pt x="382813" y="630247"/>
                </a:lnTo>
                <a:lnTo>
                  <a:pt x="494494" y="630247"/>
                </a:lnTo>
                <a:lnTo>
                  <a:pt x="494494" y="338832"/>
                </a:lnTo>
                <a:lnTo>
                  <a:pt x="382813" y="338832"/>
                </a:lnTo>
                <a:close/>
              </a:path>
            </a:pathLst>
          </a:custGeom>
          <a:solidFill>
            <a:srgbClr val="42586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CH" sz="3600" b="1" dirty="0">
              <a:solidFill>
                <a:schemeClr val="bg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1025376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47">
          <p15:clr>
            <a:srgbClr val="FBAE40"/>
          </p15:clr>
        </p15:guide>
        <p15:guide id="4" pos="733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rukturfoli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 name="think-cell Folie" r:id="rId4" imgW="344" imgH="344" progId="TCLayout.ActiveDocument.1">
                  <p:embed/>
                </p:oleObj>
              </mc:Choice>
              <mc:Fallback>
                <p:oleObj name="think-cell Folie" r:id="rId4" imgW="344" imgH="344" progId="TCLayout.ActiveDocument.1">
                  <p:embed/>
                  <p:pic>
                    <p:nvPicPr>
                      <p:cNvPr id="11" name="Objek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Titel 18"/>
          <p:cNvSpPr>
            <a:spLocks noGrp="1"/>
          </p:cNvSpPr>
          <p:nvPr>
            <p:ph type="ctrTitle" hasCustomPrompt="1"/>
          </p:nvPr>
        </p:nvSpPr>
        <p:spPr>
          <a:xfrm>
            <a:off x="2" y="2"/>
            <a:ext cx="6092825" cy="6857999"/>
          </a:xfrm>
          <a:custGeom>
            <a:avLst/>
            <a:gdLst/>
            <a:ahLst/>
            <a:cxnLst/>
            <a:rect l="l" t="t" r="r" b="b"/>
            <a:pathLst>
              <a:path w="6092825" h="6857999">
                <a:moveTo>
                  <a:pt x="4262836" y="6301178"/>
                </a:moveTo>
                <a:lnTo>
                  <a:pt x="4262836" y="6310629"/>
                </a:lnTo>
                <a:lnTo>
                  <a:pt x="4272020" y="6310629"/>
                </a:lnTo>
                <a:lnTo>
                  <a:pt x="4272020" y="6301178"/>
                </a:lnTo>
                <a:close/>
                <a:moveTo>
                  <a:pt x="4441449" y="6275027"/>
                </a:moveTo>
                <a:lnTo>
                  <a:pt x="4441449" y="6295972"/>
                </a:lnTo>
                <a:cubicBezTo>
                  <a:pt x="4441050" y="6296383"/>
                  <a:pt x="4439609" y="6297340"/>
                  <a:pt x="4437125" y="6298843"/>
                </a:cubicBezTo>
                <a:cubicBezTo>
                  <a:pt x="4434641" y="6300346"/>
                  <a:pt x="4431639" y="6301797"/>
                  <a:pt x="4428118" y="6303196"/>
                </a:cubicBezTo>
                <a:cubicBezTo>
                  <a:pt x="4424596" y="6304596"/>
                  <a:pt x="4421080" y="6305345"/>
                  <a:pt x="4417569" y="6305445"/>
                </a:cubicBezTo>
                <a:cubicBezTo>
                  <a:pt x="4412994" y="6305523"/>
                  <a:pt x="4409436" y="6304433"/>
                  <a:pt x="4406896" y="6302176"/>
                </a:cubicBezTo>
                <a:cubicBezTo>
                  <a:pt x="4404356" y="6299919"/>
                  <a:pt x="4403066" y="6296027"/>
                  <a:pt x="4403027" y="6290501"/>
                </a:cubicBezTo>
                <a:cubicBezTo>
                  <a:pt x="4403027" y="6286421"/>
                  <a:pt x="4404628" y="6283041"/>
                  <a:pt x="4407830" y="6280361"/>
                </a:cubicBezTo>
                <a:cubicBezTo>
                  <a:pt x="4411032" y="6277681"/>
                  <a:pt x="4415834" y="6276169"/>
                  <a:pt x="4422238" y="6275825"/>
                </a:cubicBezTo>
                <a:close/>
                <a:moveTo>
                  <a:pt x="4579973" y="6241687"/>
                </a:moveTo>
                <a:cubicBezTo>
                  <a:pt x="4586284" y="6241790"/>
                  <a:pt x="4590937" y="6244253"/>
                  <a:pt x="4593930" y="6249076"/>
                </a:cubicBezTo>
                <a:cubicBezTo>
                  <a:pt x="4596923" y="6253899"/>
                  <a:pt x="4598408" y="6260465"/>
                  <a:pt x="4598383" y="6268774"/>
                </a:cubicBezTo>
                <a:lnTo>
                  <a:pt x="4557961" y="6268774"/>
                </a:lnTo>
                <a:cubicBezTo>
                  <a:pt x="4558778" y="6259706"/>
                  <a:pt x="4561146" y="6252923"/>
                  <a:pt x="4565065" y="6248425"/>
                </a:cubicBezTo>
                <a:cubicBezTo>
                  <a:pt x="4568983" y="6243928"/>
                  <a:pt x="4573953" y="6241681"/>
                  <a:pt x="4579973" y="6241687"/>
                </a:cubicBezTo>
                <a:close/>
                <a:moveTo>
                  <a:pt x="4424239" y="6236103"/>
                </a:moveTo>
                <a:cubicBezTo>
                  <a:pt x="4418836" y="6236197"/>
                  <a:pt x="4414133" y="6236707"/>
                  <a:pt x="4410131" y="6237633"/>
                </a:cubicBezTo>
                <a:cubicBezTo>
                  <a:pt x="4406129" y="6238558"/>
                  <a:pt x="4403628" y="6239334"/>
                  <a:pt x="4402628" y="6239960"/>
                </a:cubicBezTo>
                <a:lnTo>
                  <a:pt x="4404228" y="6246090"/>
                </a:lnTo>
                <a:cubicBezTo>
                  <a:pt x="4405473" y="6245659"/>
                  <a:pt x="4407785" y="6245019"/>
                  <a:pt x="4411165" y="6244171"/>
                </a:cubicBezTo>
                <a:cubicBezTo>
                  <a:pt x="4414545" y="6243324"/>
                  <a:pt x="4417924" y="6242851"/>
                  <a:pt x="4421304" y="6242754"/>
                </a:cubicBezTo>
                <a:cubicBezTo>
                  <a:pt x="4428213" y="6242593"/>
                  <a:pt x="4433305" y="6243549"/>
                  <a:pt x="4436579" y="6245623"/>
                </a:cubicBezTo>
                <a:cubicBezTo>
                  <a:pt x="4439853" y="6247696"/>
                  <a:pt x="4441476" y="6251855"/>
                  <a:pt x="4441449" y="6258099"/>
                </a:cubicBezTo>
                <a:lnTo>
                  <a:pt x="4441449" y="6269174"/>
                </a:lnTo>
                <a:lnTo>
                  <a:pt x="4422905" y="6269573"/>
                </a:lnTo>
                <a:cubicBezTo>
                  <a:pt x="4419043" y="6269640"/>
                  <a:pt x="4415044" y="6270275"/>
                  <a:pt x="4410908" y="6271477"/>
                </a:cubicBezTo>
                <a:cubicBezTo>
                  <a:pt x="4406773" y="6272679"/>
                  <a:pt x="4403259" y="6274844"/>
                  <a:pt x="4400369" y="6277972"/>
                </a:cubicBezTo>
                <a:cubicBezTo>
                  <a:pt x="4397478" y="6281101"/>
                  <a:pt x="4395970" y="6285588"/>
                  <a:pt x="4395843" y="6291435"/>
                </a:cubicBezTo>
                <a:cubicBezTo>
                  <a:pt x="4395887" y="6298058"/>
                  <a:pt x="4397595" y="6303086"/>
                  <a:pt x="4400969" y="6306519"/>
                </a:cubicBezTo>
                <a:cubicBezTo>
                  <a:pt x="4404343" y="6309951"/>
                  <a:pt x="4409120" y="6311677"/>
                  <a:pt x="4415301" y="6311696"/>
                </a:cubicBezTo>
                <a:cubicBezTo>
                  <a:pt x="4420656" y="6311609"/>
                  <a:pt x="4425124" y="6310895"/>
                  <a:pt x="4428706" y="6309556"/>
                </a:cubicBezTo>
                <a:cubicBezTo>
                  <a:pt x="4432287" y="6308217"/>
                  <a:pt x="4435135" y="6306774"/>
                  <a:pt x="4437248" y="6305227"/>
                </a:cubicBezTo>
                <a:cubicBezTo>
                  <a:pt x="4439362" y="6303680"/>
                  <a:pt x="4440895" y="6302552"/>
                  <a:pt x="4441848" y="6301842"/>
                </a:cubicBezTo>
                <a:cubicBezTo>
                  <a:pt x="4442305" y="6305211"/>
                  <a:pt x="4443719" y="6307657"/>
                  <a:pt x="4446090" y="6309181"/>
                </a:cubicBezTo>
                <a:cubicBezTo>
                  <a:pt x="4448461" y="6310704"/>
                  <a:pt x="4451042" y="6311454"/>
                  <a:pt x="4453834" y="6311429"/>
                </a:cubicBezTo>
                <a:lnTo>
                  <a:pt x="4454900" y="6311429"/>
                </a:lnTo>
                <a:lnTo>
                  <a:pt x="4455567" y="6305445"/>
                </a:lnTo>
                <a:cubicBezTo>
                  <a:pt x="4453995" y="6305328"/>
                  <a:pt x="4452472" y="6304728"/>
                  <a:pt x="4451000" y="6303644"/>
                </a:cubicBezTo>
                <a:cubicBezTo>
                  <a:pt x="4449527" y="6302560"/>
                  <a:pt x="4448738" y="6300492"/>
                  <a:pt x="4448633" y="6297439"/>
                </a:cubicBezTo>
                <a:lnTo>
                  <a:pt x="4448633" y="6254763"/>
                </a:lnTo>
                <a:cubicBezTo>
                  <a:pt x="4448517" y="6247975"/>
                  <a:pt x="4446252" y="6243148"/>
                  <a:pt x="4441839" y="6240281"/>
                </a:cubicBezTo>
                <a:cubicBezTo>
                  <a:pt x="4437425" y="6237414"/>
                  <a:pt x="4431559" y="6236022"/>
                  <a:pt x="4424239" y="6236103"/>
                </a:cubicBezTo>
                <a:close/>
                <a:moveTo>
                  <a:pt x="4655584" y="6235970"/>
                </a:moveTo>
                <a:cubicBezTo>
                  <a:pt x="4650128" y="6236094"/>
                  <a:pt x="4645364" y="6237208"/>
                  <a:pt x="4641293" y="6239313"/>
                </a:cubicBezTo>
                <a:cubicBezTo>
                  <a:pt x="4637221" y="6241417"/>
                  <a:pt x="4633358" y="6243764"/>
                  <a:pt x="4629703" y="6246354"/>
                </a:cubicBezTo>
                <a:lnTo>
                  <a:pt x="4629703" y="6237970"/>
                </a:lnTo>
                <a:lnTo>
                  <a:pt x="4622386" y="6237970"/>
                </a:lnTo>
                <a:lnTo>
                  <a:pt x="4622386" y="6310629"/>
                </a:lnTo>
                <a:lnTo>
                  <a:pt x="4629703" y="6310629"/>
                </a:lnTo>
                <a:lnTo>
                  <a:pt x="4629703" y="6253022"/>
                </a:lnTo>
                <a:cubicBezTo>
                  <a:pt x="4632963" y="6250896"/>
                  <a:pt x="4636715" y="6248679"/>
                  <a:pt x="4640959" y="6246371"/>
                </a:cubicBezTo>
                <a:cubicBezTo>
                  <a:pt x="4645203" y="6244062"/>
                  <a:pt x="4649589" y="6242812"/>
                  <a:pt x="4654116" y="6242620"/>
                </a:cubicBezTo>
                <a:cubicBezTo>
                  <a:pt x="4659024" y="6242655"/>
                  <a:pt x="4662667" y="6243638"/>
                  <a:pt x="4665045" y="6245569"/>
                </a:cubicBezTo>
                <a:cubicBezTo>
                  <a:pt x="4667424" y="6247500"/>
                  <a:pt x="4668972" y="6250172"/>
                  <a:pt x="4669690" y="6253585"/>
                </a:cubicBezTo>
                <a:cubicBezTo>
                  <a:pt x="4670408" y="6256998"/>
                  <a:pt x="4670731" y="6260944"/>
                  <a:pt x="4670658" y="6265423"/>
                </a:cubicBezTo>
                <a:lnTo>
                  <a:pt x="4670658" y="6310629"/>
                </a:lnTo>
                <a:lnTo>
                  <a:pt x="4677709" y="6310629"/>
                </a:lnTo>
                <a:lnTo>
                  <a:pt x="4677709" y="6263290"/>
                </a:lnTo>
                <a:cubicBezTo>
                  <a:pt x="4677826" y="6259384"/>
                  <a:pt x="4677474" y="6255344"/>
                  <a:pt x="4676653" y="6251169"/>
                </a:cubicBezTo>
                <a:cubicBezTo>
                  <a:pt x="4675832" y="6246994"/>
                  <a:pt x="4673841" y="6243449"/>
                  <a:pt x="4670680" y="6240534"/>
                </a:cubicBezTo>
                <a:cubicBezTo>
                  <a:pt x="4667519" y="6237618"/>
                  <a:pt x="4662487" y="6236097"/>
                  <a:pt x="4655584" y="6235970"/>
                </a:cubicBezTo>
                <a:close/>
                <a:moveTo>
                  <a:pt x="4581573" y="6235970"/>
                </a:moveTo>
                <a:cubicBezTo>
                  <a:pt x="4572686" y="6235786"/>
                  <a:pt x="4565319" y="6238717"/>
                  <a:pt x="4559472" y="6244763"/>
                </a:cubicBezTo>
                <a:cubicBezTo>
                  <a:pt x="4553624" y="6250810"/>
                  <a:pt x="4550593" y="6261075"/>
                  <a:pt x="4550377" y="6275558"/>
                </a:cubicBezTo>
                <a:cubicBezTo>
                  <a:pt x="4550479" y="6289169"/>
                  <a:pt x="4553438" y="6298733"/>
                  <a:pt x="4559255" y="6304251"/>
                </a:cubicBezTo>
                <a:cubicBezTo>
                  <a:pt x="4565072" y="6309768"/>
                  <a:pt x="4573134" y="6312427"/>
                  <a:pt x="4583441" y="6312229"/>
                </a:cubicBezTo>
                <a:cubicBezTo>
                  <a:pt x="4589880" y="6312110"/>
                  <a:pt x="4594975" y="6311583"/>
                  <a:pt x="4598725" y="6310649"/>
                </a:cubicBezTo>
                <a:cubicBezTo>
                  <a:pt x="4602475" y="6309716"/>
                  <a:pt x="4604668" y="6309089"/>
                  <a:pt x="4605302" y="6308771"/>
                </a:cubicBezTo>
                <a:lnTo>
                  <a:pt x="4603838" y="6302376"/>
                </a:lnTo>
                <a:cubicBezTo>
                  <a:pt x="4603015" y="6302666"/>
                  <a:pt x="4601599" y="6303050"/>
                  <a:pt x="4599590" y="6303528"/>
                </a:cubicBezTo>
                <a:cubicBezTo>
                  <a:pt x="4597581" y="6304005"/>
                  <a:pt x="4595394" y="6304438"/>
                  <a:pt x="4593029" y="6304827"/>
                </a:cubicBezTo>
                <a:cubicBezTo>
                  <a:pt x="4590664" y="6305216"/>
                  <a:pt x="4588535" y="6305422"/>
                  <a:pt x="4586643" y="6305445"/>
                </a:cubicBezTo>
                <a:cubicBezTo>
                  <a:pt x="4581177" y="6305554"/>
                  <a:pt x="4576337" y="6304861"/>
                  <a:pt x="4572122" y="6303365"/>
                </a:cubicBezTo>
                <a:cubicBezTo>
                  <a:pt x="4567906" y="6301868"/>
                  <a:pt x="4564558" y="6298911"/>
                  <a:pt x="4562077" y="6294494"/>
                </a:cubicBezTo>
                <a:cubicBezTo>
                  <a:pt x="4559595" y="6290077"/>
                  <a:pt x="4558224" y="6283543"/>
                  <a:pt x="4557961" y="6274891"/>
                </a:cubicBezTo>
                <a:lnTo>
                  <a:pt x="4606234" y="6274891"/>
                </a:lnTo>
                <a:lnTo>
                  <a:pt x="4606234" y="6272231"/>
                </a:lnTo>
                <a:cubicBezTo>
                  <a:pt x="4606248" y="6259809"/>
                  <a:pt x="4604223" y="6250648"/>
                  <a:pt x="4600157" y="6244748"/>
                </a:cubicBezTo>
                <a:cubicBezTo>
                  <a:pt x="4596091" y="6238848"/>
                  <a:pt x="4589897" y="6235922"/>
                  <a:pt x="4581573" y="6235970"/>
                </a:cubicBezTo>
                <a:close/>
                <a:moveTo>
                  <a:pt x="4205953" y="6222901"/>
                </a:moveTo>
                <a:lnTo>
                  <a:pt x="4205953" y="6237970"/>
                </a:lnTo>
                <a:lnTo>
                  <a:pt x="4195285" y="6237970"/>
                </a:lnTo>
                <a:lnTo>
                  <a:pt x="4195285" y="6244887"/>
                </a:lnTo>
                <a:lnTo>
                  <a:pt x="4205953" y="6244887"/>
                </a:lnTo>
                <a:lnTo>
                  <a:pt x="4205953" y="6291071"/>
                </a:lnTo>
                <a:cubicBezTo>
                  <a:pt x="4205990" y="6297740"/>
                  <a:pt x="4206995" y="6302573"/>
                  <a:pt x="4208966" y="6305570"/>
                </a:cubicBezTo>
                <a:cubicBezTo>
                  <a:pt x="4210937" y="6308568"/>
                  <a:pt x="4213649" y="6310434"/>
                  <a:pt x="4217102" y="6311169"/>
                </a:cubicBezTo>
                <a:cubicBezTo>
                  <a:pt x="4220555" y="6311904"/>
                  <a:pt x="4224523" y="6312213"/>
                  <a:pt x="4229005" y="6312096"/>
                </a:cubicBezTo>
                <a:cubicBezTo>
                  <a:pt x="4231311" y="6312038"/>
                  <a:pt x="4233600" y="6311722"/>
                  <a:pt x="4235873" y="6311148"/>
                </a:cubicBezTo>
                <a:cubicBezTo>
                  <a:pt x="4238145" y="6310574"/>
                  <a:pt x="4239768" y="6310092"/>
                  <a:pt x="4240740" y="6309701"/>
                </a:cubicBezTo>
                <a:lnTo>
                  <a:pt x="4238873" y="6303182"/>
                </a:lnTo>
                <a:cubicBezTo>
                  <a:pt x="4237812" y="6303562"/>
                  <a:pt x="4236334" y="6304000"/>
                  <a:pt x="4234439" y="6304496"/>
                </a:cubicBezTo>
                <a:cubicBezTo>
                  <a:pt x="4232545" y="6304993"/>
                  <a:pt x="4230600" y="6305264"/>
                  <a:pt x="4228605" y="6305312"/>
                </a:cubicBezTo>
                <a:cubicBezTo>
                  <a:pt x="4222594" y="6305470"/>
                  <a:pt x="4218482" y="6304588"/>
                  <a:pt x="4216271" y="6302666"/>
                </a:cubicBezTo>
                <a:cubicBezTo>
                  <a:pt x="4214059" y="6300745"/>
                  <a:pt x="4213015" y="6296835"/>
                  <a:pt x="4213137" y="6290937"/>
                </a:cubicBezTo>
                <a:lnTo>
                  <a:pt x="4213137" y="6244887"/>
                </a:lnTo>
                <a:lnTo>
                  <a:pt x="4235940" y="6244887"/>
                </a:lnTo>
                <a:lnTo>
                  <a:pt x="4235940" y="6237970"/>
                </a:lnTo>
                <a:lnTo>
                  <a:pt x="4213004" y="6237970"/>
                </a:lnTo>
                <a:lnTo>
                  <a:pt x="4213004" y="6222901"/>
                </a:lnTo>
                <a:close/>
                <a:moveTo>
                  <a:pt x="4150413" y="6215167"/>
                </a:moveTo>
                <a:cubicBezTo>
                  <a:pt x="4142957" y="6215175"/>
                  <a:pt x="4136763" y="6217022"/>
                  <a:pt x="4131829" y="6220710"/>
                </a:cubicBezTo>
                <a:cubicBezTo>
                  <a:pt x="4126896" y="6224398"/>
                  <a:pt x="4124337" y="6229880"/>
                  <a:pt x="4124152" y="6237156"/>
                </a:cubicBezTo>
                <a:cubicBezTo>
                  <a:pt x="4124276" y="6243174"/>
                  <a:pt x="4125884" y="6248008"/>
                  <a:pt x="4128978" y="6251657"/>
                </a:cubicBezTo>
                <a:cubicBezTo>
                  <a:pt x="4132072" y="6255306"/>
                  <a:pt x="4135908" y="6258315"/>
                  <a:pt x="4140487" y="6260684"/>
                </a:cubicBezTo>
                <a:cubicBezTo>
                  <a:pt x="4145065" y="6263053"/>
                  <a:pt x="4149644" y="6265325"/>
                  <a:pt x="4154223" y="6267502"/>
                </a:cubicBezTo>
                <a:cubicBezTo>
                  <a:pt x="4158801" y="6269679"/>
                  <a:pt x="4162638" y="6272304"/>
                  <a:pt x="4165731" y="6275377"/>
                </a:cubicBezTo>
                <a:cubicBezTo>
                  <a:pt x="4168825" y="6278450"/>
                  <a:pt x="4170434" y="6282515"/>
                  <a:pt x="4170558" y="6287573"/>
                </a:cubicBezTo>
                <a:cubicBezTo>
                  <a:pt x="4170448" y="6292155"/>
                  <a:pt x="4169111" y="6295720"/>
                  <a:pt x="4166545" y="6298267"/>
                </a:cubicBezTo>
                <a:cubicBezTo>
                  <a:pt x="4163980" y="6300815"/>
                  <a:pt x="4160844" y="6302591"/>
                  <a:pt x="4157138" y="6303598"/>
                </a:cubicBezTo>
                <a:cubicBezTo>
                  <a:pt x="4153431" y="6304604"/>
                  <a:pt x="4149811" y="6305086"/>
                  <a:pt x="4146278" y="6305045"/>
                </a:cubicBezTo>
                <a:cubicBezTo>
                  <a:pt x="4142050" y="6305025"/>
                  <a:pt x="4138199" y="6304564"/>
                  <a:pt x="4134724" y="6303661"/>
                </a:cubicBezTo>
                <a:cubicBezTo>
                  <a:pt x="4131249" y="6302758"/>
                  <a:pt x="4127902" y="6301530"/>
                  <a:pt x="4124684" y="6299977"/>
                </a:cubicBezTo>
                <a:lnTo>
                  <a:pt x="4121751" y="6306774"/>
                </a:lnTo>
                <a:cubicBezTo>
                  <a:pt x="4124098" y="6308108"/>
                  <a:pt x="4127162" y="6309333"/>
                  <a:pt x="4130943" y="6310450"/>
                </a:cubicBezTo>
                <a:cubicBezTo>
                  <a:pt x="4134724" y="6311567"/>
                  <a:pt x="4139924" y="6312160"/>
                  <a:pt x="4146544" y="6312229"/>
                </a:cubicBezTo>
                <a:cubicBezTo>
                  <a:pt x="4155682" y="6312260"/>
                  <a:pt x="4163183" y="6310202"/>
                  <a:pt x="4169047" y="6306053"/>
                </a:cubicBezTo>
                <a:cubicBezTo>
                  <a:pt x="4174911" y="6301904"/>
                  <a:pt x="4177943" y="6295477"/>
                  <a:pt x="4178142" y="6286772"/>
                </a:cubicBezTo>
                <a:cubicBezTo>
                  <a:pt x="4178017" y="6280799"/>
                  <a:pt x="4176394" y="6275940"/>
                  <a:pt x="4173274" y="6272197"/>
                </a:cubicBezTo>
                <a:cubicBezTo>
                  <a:pt x="4170154" y="6268453"/>
                  <a:pt x="4166284" y="6265334"/>
                  <a:pt x="4161666" y="6262839"/>
                </a:cubicBezTo>
                <a:cubicBezTo>
                  <a:pt x="4157048" y="6260344"/>
                  <a:pt x="4152430" y="6257983"/>
                  <a:pt x="4147812" y="6255754"/>
                </a:cubicBezTo>
                <a:cubicBezTo>
                  <a:pt x="4143193" y="6253526"/>
                  <a:pt x="4139324" y="6250940"/>
                  <a:pt x="4136204" y="6247997"/>
                </a:cubicBezTo>
                <a:cubicBezTo>
                  <a:pt x="4133083" y="6245054"/>
                  <a:pt x="4131461" y="6241262"/>
                  <a:pt x="4131336" y="6236623"/>
                </a:cubicBezTo>
                <a:cubicBezTo>
                  <a:pt x="4131486" y="6231338"/>
                  <a:pt x="4133387" y="6227536"/>
                  <a:pt x="4137039" y="6225219"/>
                </a:cubicBezTo>
                <a:cubicBezTo>
                  <a:pt x="4140691" y="6222902"/>
                  <a:pt x="4145194" y="6221768"/>
                  <a:pt x="4150547" y="6221818"/>
                </a:cubicBezTo>
                <a:cubicBezTo>
                  <a:pt x="4154738" y="6221843"/>
                  <a:pt x="4158295" y="6222193"/>
                  <a:pt x="4161219" y="6222868"/>
                </a:cubicBezTo>
                <a:cubicBezTo>
                  <a:pt x="4164143" y="6223543"/>
                  <a:pt x="4166900" y="6224394"/>
                  <a:pt x="4169490" y="6225419"/>
                </a:cubicBezTo>
                <a:lnTo>
                  <a:pt x="4171622" y="6219291"/>
                </a:lnTo>
                <a:cubicBezTo>
                  <a:pt x="4169064" y="6218129"/>
                  <a:pt x="4166080" y="6217159"/>
                  <a:pt x="4162670" y="6216381"/>
                </a:cubicBezTo>
                <a:cubicBezTo>
                  <a:pt x="4159260" y="6215602"/>
                  <a:pt x="4155174" y="6215197"/>
                  <a:pt x="4150413" y="6215167"/>
                </a:cubicBezTo>
                <a:close/>
                <a:moveTo>
                  <a:pt x="4349793" y="6215034"/>
                </a:moveTo>
                <a:cubicBezTo>
                  <a:pt x="4339764" y="6215113"/>
                  <a:pt x="4331250" y="6217249"/>
                  <a:pt x="4324252" y="6221441"/>
                </a:cubicBezTo>
                <a:cubicBezTo>
                  <a:pt x="4317254" y="6225633"/>
                  <a:pt x="4311923" y="6231403"/>
                  <a:pt x="4308260" y="6238751"/>
                </a:cubicBezTo>
                <a:cubicBezTo>
                  <a:pt x="4304596" y="6246100"/>
                  <a:pt x="4302752" y="6254549"/>
                  <a:pt x="4302727" y="6264098"/>
                </a:cubicBezTo>
                <a:cubicBezTo>
                  <a:pt x="4302744" y="6273090"/>
                  <a:pt x="4304589" y="6281202"/>
                  <a:pt x="4308260" y="6288432"/>
                </a:cubicBezTo>
                <a:cubicBezTo>
                  <a:pt x="4311931" y="6295663"/>
                  <a:pt x="4317321" y="6301412"/>
                  <a:pt x="4324430" y="6305679"/>
                </a:cubicBezTo>
                <a:cubicBezTo>
                  <a:pt x="4331539" y="6309945"/>
                  <a:pt x="4340260" y="6312129"/>
                  <a:pt x="4350593" y="6312229"/>
                </a:cubicBezTo>
                <a:cubicBezTo>
                  <a:pt x="4357066" y="6312201"/>
                  <a:pt x="4362428" y="6311824"/>
                  <a:pt x="4366681" y="6311098"/>
                </a:cubicBezTo>
                <a:cubicBezTo>
                  <a:pt x="4370933" y="6310372"/>
                  <a:pt x="4374857" y="6309463"/>
                  <a:pt x="4378453" y="6308371"/>
                </a:cubicBezTo>
                <a:lnTo>
                  <a:pt x="4378453" y="6264365"/>
                </a:lnTo>
                <a:lnTo>
                  <a:pt x="4370602" y="6264365"/>
                </a:lnTo>
                <a:lnTo>
                  <a:pt x="4370602" y="6303044"/>
                </a:lnTo>
                <a:cubicBezTo>
                  <a:pt x="4368701" y="6303547"/>
                  <a:pt x="4366333" y="6304042"/>
                  <a:pt x="4363499" y="6304528"/>
                </a:cubicBezTo>
                <a:cubicBezTo>
                  <a:pt x="4360664" y="6305014"/>
                  <a:pt x="4357163" y="6305275"/>
                  <a:pt x="4352994" y="6305312"/>
                </a:cubicBezTo>
                <a:cubicBezTo>
                  <a:pt x="4345337" y="6305342"/>
                  <a:pt x="4338347" y="6303888"/>
                  <a:pt x="4332023" y="6300950"/>
                </a:cubicBezTo>
                <a:cubicBezTo>
                  <a:pt x="4325700" y="6298011"/>
                  <a:pt x="4320636" y="6293406"/>
                  <a:pt x="4316832" y="6287133"/>
                </a:cubicBezTo>
                <a:cubicBezTo>
                  <a:pt x="4313028" y="6280860"/>
                  <a:pt x="4311076" y="6272737"/>
                  <a:pt x="4310978" y="6262764"/>
                </a:cubicBezTo>
                <a:cubicBezTo>
                  <a:pt x="4311084" y="6253026"/>
                  <a:pt x="4312961" y="6245175"/>
                  <a:pt x="4316609" y="6239211"/>
                </a:cubicBezTo>
                <a:cubicBezTo>
                  <a:pt x="4320258" y="6233247"/>
                  <a:pt x="4325040" y="6228913"/>
                  <a:pt x="4330956" y="6226209"/>
                </a:cubicBezTo>
                <a:cubicBezTo>
                  <a:pt x="4336872" y="6223506"/>
                  <a:pt x="4343284" y="6222175"/>
                  <a:pt x="4350193" y="6222218"/>
                </a:cubicBezTo>
                <a:cubicBezTo>
                  <a:pt x="4357210" y="6222304"/>
                  <a:pt x="4362551" y="6222832"/>
                  <a:pt x="4366215" y="6223802"/>
                </a:cubicBezTo>
                <a:cubicBezTo>
                  <a:pt x="4369880" y="6224772"/>
                  <a:pt x="4372584" y="6225666"/>
                  <a:pt x="4374328" y="6226486"/>
                </a:cubicBezTo>
                <a:lnTo>
                  <a:pt x="4376723" y="6219557"/>
                </a:lnTo>
                <a:cubicBezTo>
                  <a:pt x="4375420" y="6218903"/>
                  <a:pt x="4372767" y="6218016"/>
                  <a:pt x="4368763" y="6216896"/>
                </a:cubicBezTo>
                <a:cubicBezTo>
                  <a:pt x="4364759" y="6215776"/>
                  <a:pt x="4358435" y="6215156"/>
                  <a:pt x="4349793" y="6215034"/>
                </a:cubicBezTo>
                <a:close/>
                <a:moveTo>
                  <a:pt x="4517611" y="6210100"/>
                </a:moveTo>
                <a:lnTo>
                  <a:pt x="4517611" y="6310629"/>
                </a:lnTo>
                <a:lnTo>
                  <a:pt x="4524928" y="6310629"/>
                </a:lnTo>
                <a:lnTo>
                  <a:pt x="4524928" y="6210100"/>
                </a:lnTo>
                <a:close/>
                <a:moveTo>
                  <a:pt x="4479511" y="6210100"/>
                </a:moveTo>
                <a:lnTo>
                  <a:pt x="4479511" y="6310629"/>
                </a:lnTo>
                <a:lnTo>
                  <a:pt x="4486828" y="6310629"/>
                </a:lnTo>
                <a:lnTo>
                  <a:pt x="4486828" y="6210100"/>
                </a:lnTo>
                <a:close/>
                <a:moveTo>
                  <a:pt x="4393824" y="6103577"/>
                </a:moveTo>
                <a:lnTo>
                  <a:pt x="4393824" y="6124522"/>
                </a:lnTo>
                <a:cubicBezTo>
                  <a:pt x="4393425" y="6124933"/>
                  <a:pt x="4391984" y="6125890"/>
                  <a:pt x="4389500" y="6127393"/>
                </a:cubicBezTo>
                <a:cubicBezTo>
                  <a:pt x="4387016" y="6128896"/>
                  <a:pt x="4384014" y="6130347"/>
                  <a:pt x="4380493" y="6131746"/>
                </a:cubicBezTo>
                <a:cubicBezTo>
                  <a:pt x="4376971" y="6133146"/>
                  <a:pt x="4373455" y="6133895"/>
                  <a:pt x="4369944" y="6133995"/>
                </a:cubicBezTo>
                <a:cubicBezTo>
                  <a:pt x="4365369" y="6134073"/>
                  <a:pt x="4361811" y="6132983"/>
                  <a:pt x="4359271" y="6130726"/>
                </a:cubicBezTo>
                <a:cubicBezTo>
                  <a:pt x="4356731" y="6128469"/>
                  <a:pt x="4355441" y="6124577"/>
                  <a:pt x="4355402" y="6119051"/>
                </a:cubicBezTo>
                <a:cubicBezTo>
                  <a:pt x="4355402" y="6114971"/>
                  <a:pt x="4357003" y="6111591"/>
                  <a:pt x="4360205" y="6108911"/>
                </a:cubicBezTo>
                <a:cubicBezTo>
                  <a:pt x="4363407" y="6106231"/>
                  <a:pt x="4368209" y="6104719"/>
                  <a:pt x="4374613" y="6104375"/>
                </a:cubicBezTo>
                <a:close/>
                <a:moveTo>
                  <a:pt x="4241424" y="6103577"/>
                </a:moveTo>
                <a:lnTo>
                  <a:pt x="4241424" y="6124522"/>
                </a:lnTo>
                <a:cubicBezTo>
                  <a:pt x="4241025" y="6124933"/>
                  <a:pt x="4239584" y="6125890"/>
                  <a:pt x="4237100" y="6127393"/>
                </a:cubicBezTo>
                <a:cubicBezTo>
                  <a:pt x="4234616" y="6128896"/>
                  <a:pt x="4231614" y="6130347"/>
                  <a:pt x="4228093" y="6131746"/>
                </a:cubicBezTo>
                <a:cubicBezTo>
                  <a:pt x="4224571" y="6133146"/>
                  <a:pt x="4221055" y="6133895"/>
                  <a:pt x="4217544" y="6133995"/>
                </a:cubicBezTo>
                <a:cubicBezTo>
                  <a:pt x="4212969" y="6134073"/>
                  <a:pt x="4209411" y="6132983"/>
                  <a:pt x="4206871" y="6130726"/>
                </a:cubicBezTo>
                <a:cubicBezTo>
                  <a:pt x="4204331" y="6128469"/>
                  <a:pt x="4203041" y="6124577"/>
                  <a:pt x="4203002" y="6119051"/>
                </a:cubicBezTo>
                <a:cubicBezTo>
                  <a:pt x="4203002" y="6114971"/>
                  <a:pt x="4204603" y="6111591"/>
                  <a:pt x="4207805" y="6108911"/>
                </a:cubicBezTo>
                <a:cubicBezTo>
                  <a:pt x="4211007" y="6106231"/>
                  <a:pt x="4215809" y="6104719"/>
                  <a:pt x="4222213" y="6104375"/>
                </a:cubicBezTo>
                <a:close/>
                <a:moveTo>
                  <a:pt x="4612150" y="6070904"/>
                </a:moveTo>
                <a:cubicBezTo>
                  <a:pt x="4616002" y="6070929"/>
                  <a:pt x="4619103" y="6071112"/>
                  <a:pt x="4621455" y="6071454"/>
                </a:cubicBezTo>
                <a:cubicBezTo>
                  <a:pt x="4623806" y="6071796"/>
                  <a:pt x="4625907" y="6072146"/>
                  <a:pt x="4627758" y="6072505"/>
                </a:cubicBezTo>
                <a:lnTo>
                  <a:pt x="4627758" y="6125859"/>
                </a:lnTo>
                <a:cubicBezTo>
                  <a:pt x="4626290" y="6127295"/>
                  <a:pt x="4624123" y="6128924"/>
                  <a:pt x="4621254" y="6130744"/>
                </a:cubicBezTo>
                <a:cubicBezTo>
                  <a:pt x="4618386" y="6132564"/>
                  <a:pt x="4614818" y="6133559"/>
                  <a:pt x="4610549" y="6133728"/>
                </a:cubicBezTo>
                <a:cubicBezTo>
                  <a:pt x="4602486" y="6133809"/>
                  <a:pt x="4596466" y="6131447"/>
                  <a:pt x="4592489" y="6126642"/>
                </a:cubicBezTo>
                <a:cubicBezTo>
                  <a:pt x="4588512" y="6121838"/>
                  <a:pt x="4586528" y="6114107"/>
                  <a:pt x="4586536" y="6103450"/>
                </a:cubicBezTo>
                <a:cubicBezTo>
                  <a:pt x="4586501" y="6097505"/>
                  <a:pt x="4587312" y="6092084"/>
                  <a:pt x="4588967" y="6087187"/>
                </a:cubicBezTo>
                <a:cubicBezTo>
                  <a:pt x="4590622" y="6082289"/>
                  <a:pt x="4593330" y="6078370"/>
                  <a:pt x="4597090" y="6075429"/>
                </a:cubicBezTo>
                <a:cubicBezTo>
                  <a:pt x="4600850" y="6072488"/>
                  <a:pt x="4605870" y="6070979"/>
                  <a:pt x="4612150" y="6070904"/>
                </a:cubicBezTo>
                <a:close/>
                <a:moveTo>
                  <a:pt x="4459750" y="6070904"/>
                </a:moveTo>
                <a:cubicBezTo>
                  <a:pt x="4463602" y="6070929"/>
                  <a:pt x="4466703" y="6071112"/>
                  <a:pt x="4469055" y="6071454"/>
                </a:cubicBezTo>
                <a:cubicBezTo>
                  <a:pt x="4471406" y="6071796"/>
                  <a:pt x="4473507" y="6072146"/>
                  <a:pt x="4475358" y="6072505"/>
                </a:cubicBezTo>
                <a:lnTo>
                  <a:pt x="4475358" y="6125859"/>
                </a:lnTo>
                <a:cubicBezTo>
                  <a:pt x="4473890" y="6127295"/>
                  <a:pt x="4471723" y="6128924"/>
                  <a:pt x="4468854" y="6130744"/>
                </a:cubicBezTo>
                <a:cubicBezTo>
                  <a:pt x="4465986" y="6132564"/>
                  <a:pt x="4462418" y="6133559"/>
                  <a:pt x="4458149" y="6133728"/>
                </a:cubicBezTo>
                <a:cubicBezTo>
                  <a:pt x="4450086" y="6133809"/>
                  <a:pt x="4444066" y="6131447"/>
                  <a:pt x="4440089" y="6126642"/>
                </a:cubicBezTo>
                <a:cubicBezTo>
                  <a:pt x="4436112" y="6121838"/>
                  <a:pt x="4434128" y="6114107"/>
                  <a:pt x="4434136" y="6103450"/>
                </a:cubicBezTo>
                <a:cubicBezTo>
                  <a:pt x="4434101" y="6097505"/>
                  <a:pt x="4434912" y="6092084"/>
                  <a:pt x="4436567" y="6087187"/>
                </a:cubicBezTo>
                <a:cubicBezTo>
                  <a:pt x="4438222" y="6082289"/>
                  <a:pt x="4440930" y="6078370"/>
                  <a:pt x="4444690" y="6075429"/>
                </a:cubicBezTo>
                <a:cubicBezTo>
                  <a:pt x="4448450" y="6072488"/>
                  <a:pt x="4453470" y="6070979"/>
                  <a:pt x="4459750" y="6070904"/>
                </a:cubicBezTo>
                <a:close/>
                <a:moveTo>
                  <a:pt x="5144081" y="6070770"/>
                </a:moveTo>
                <a:cubicBezTo>
                  <a:pt x="5150507" y="6070909"/>
                  <a:pt x="5155456" y="6072648"/>
                  <a:pt x="5158927" y="6075987"/>
                </a:cubicBezTo>
                <a:cubicBezTo>
                  <a:pt x="5162399" y="6079327"/>
                  <a:pt x="5164788" y="6083437"/>
                  <a:pt x="5166096" y="6088318"/>
                </a:cubicBezTo>
                <a:cubicBezTo>
                  <a:pt x="5167404" y="6093199"/>
                  <a:pt x="5168024" y="6098020"/>
                  <a:pt x="5167958" y="6102783"/>
                </a:cubicBezTo>
                <a:cubicBezTo>
                  <a:pt x="5168018" y="6107878"/>
                  <a:pt x="5167380" y="6112834"/>
                  <a:pt x="5166046" y="6117653"/>
                </a:cubicBezTo>
                <a:cubicBezTo>
                  <a:pt x="5164713" y="6122471"/>
                  <a:pt x="5162326" y="6126459"/>
                  <a:pt x="5158888" y="6129618"/>
                </a:cubicBezTo>
                <a:cubicBezTo>
                  <a:pt x="5155449" y="6132776"/>
                  <a:pt x="5150602" y="6134413"/>
                  <a:pt x="5144347" y="6134528"/>
                </a:cubicBezTo>
                <a:cubicBezTo>
                  <a:pt x="5138167" y="6134432"/>
                  <a:pt x="5133290" y="6132876"/>
                  <a:pt x="5129718" y="6129860"/>
                </a:cubicBezTo>
                <a:cubicBezTo>
                  <a:pt x="5126146" y="6126844"/>
                  <a:pt x="5123612" y="6122946"/>
                  <a:pt x="5122115" y="6118166"/>
                </a:cubicBezTo>
                <a:cubicBezTo>
                  <a:pt x="5120618" y="6113387"/>
                  <a:pt x="5119891" y="6108303"/>
                  <a:pt x="5119936" y="6102916"/>
                </a:cubicBezTo>
                <a:cubicBezTo>
                  <a:pt x="5119878" y="6098026"/>
                  <a:pt x="5120542" y="6093134"/>
                  <a:pt x="5121927" y="6088239"/>
                </a:cubicBezTo>
                <a:cubicBezTo>
                  <a:pt x="5123312" y="6083344"/>
                  <a:pt x="5125764" y="6079242"/>
                  <a:pt x="5129283" y="6075933"/>
                </a:cubicBezTo>
                <a:cubicBezTo>
                  <a:pt x="5132803" y="6072624"/>
                  <a:pt x="5137735" y="6070903"/>
                  <a:pt x="5144081" y="6070770"/>
                </a:cubicBezTo>
                <a:close/>
                <a:moveTo>
                  <a:pt x="4534481" y="6070770"/>
                </a:moveTo>
                <a:cubicBezTo>
                  <a:pt x="4540907" y="6070909"/>
                  <a:pt x="4545856" y="6072648"/>
                  <a:pt x="4549327" y="6075987"/>
                </a:cubicBezTo>
                <a:cubicBezTo>
                  <a:pt x="4552799" y="6079327"/>
                  <a:pt x="4555188" y="6083437"/>
                  <a:pt x="4556496" y="6088318"/>
                </a:cubicBezTo>
                <a:cubicBezTo>
                  <a:pt x="4557804" y="6093199"/>
                  <a:pt x="4558424" y="6098020"/>
                  <a:pt x="4558358" y="6102783"/>
                </a:cubicBezTo>
                <a:cubicBezTo>
                  <a:pt x="4558418" y="6107878"/>
                  <a:pt x="4557780" y="6112834"/>
                  <a:pt x="4556447" y="6117653"/>
                </a:cubicBezTo>
                <a:cubicBezTo>
                  <a:pt x="4555113" y="6122471"/>
                  <a:pt x="4552726" y="6126459"/>
                  <a:pt x="4549288" y="6129618"/>
                </a:cubicBezTo>
                <a:cubicBezTo>
                  <a:pt x="4545849" y="6132776"/>
                  <a:pt x="4541002" y="6134413"/>
                  <a:pt x="4534747" y="6134528"/>
                </a:cubicBezTo>
                <a:cubicBezTo>
                  <a:pt x="4528567" y="6134432"/>
                  <a:pt x="4523690" y="6132876"/>
                  <a:pt x="4520118" y="6129860"/>
                </a:cubicBezTo>
                <a:cubicBezTo>
                  <a:pt x="4516546" y="6126844"/>
                  <a:pt x="4514012" y="6122946"/>
                  <a:pt x="4512515" y="6118166"/>
                </a:cubicBezTo>
                <a:cubicBezTo>
                  <a:pt x="4511018" y="6113387"/>
                  <a:pt x="4510291" y="6108303"/>
                  <a:pt x="4510336" y="6102916"/>
                </a:cubicBezTo>
                <a:cubicBezTo>
                  <a:pt x="4510278" y="6098026"/>
                  <a:pt x="4510942" y="6093134"/>
                  <a:pt x="4512327" y="6088239"/>
                </a:cubicBezTo>
                <a:cubicBezTo>
                  <a:pt x="4513712" y="6083344"/>
                  <a:pt x="4516164" y="6079242"/>
                  <a:pt x="4519683" y="6075933"/>
                </a:cubicBezTo>
                <a:cubicBezTo>
                  <a:pt x="4523203" y="6072624"/>
                  <a:pt x="4528135" y="6070903"/>
                  <a:pt x="4534481" y="6070770"/>
                </a:cubicBezTo>
                <a:close/>
                <a:moveTo>
                  <a:pt x="4307216" y="6070770"/>
                </a:moveTo>
                <a:cubicBezTo>
                  <a:pt x="4311146" y="6070790"/>
                  <a:pt x="4314325" y="6071051"/>
                  <a:pt x="4316754" y="6071554"/>
                </a:cubicBezTo>
                <a:cubicBezTo>
                  <a:pt x="4319183" y="6072057"/>
                  <a:pt x="4321296" y="6072685"/>
                  <a:pt x="4323091" y="6073438"/>
                </a:cubicBezTo>
                <a:lnTo>
                  <a:pt x="4323091" y="6124525"/>
                </a:lnTo>
                <a:cubicBezTo>
                  <a:pt x="4322120" y="6125441"/>
                  <a:pt x="4320638" y="6126646"/>
                  <a:pt x="4318644" y="6128141"/>
                </a:cubicBezTo>
                <a:cubicBezTo>
                  <a:pt x="4316650" y="6129635"/>
                  <a:pt x="4314368" y="6130989"/>
                  <a:pt x="4311796" y="6132202"/>
                </a:cubicBezTo>
                <a:cubicBezTo>
                  <a:pt x="4309224" y="6133414"/>
                  <a:pt x="4306586" y="6134057"/>
                  <a:pt x="4303881" y="6134128"/>
                </a:cubicBezTo>
                <a:cubicBezTo>
                  <a:pt x="4297122" y="6134167"/>
                  <a:pt x="4291763" y="6131722"/>
                  <a:pt x="4287806" y="6126792"/>
                </a:cubicBezTo>
                <a:cubicBezTo>
                  <a:pt x="4283848" y="6121862"/>
                  <a:pt x="4281825" y="6114215"/>
                  <a:pt x="4281736" y="6103850"/>
                </a:cubicBezTo>
                <a:cubicBezTo>
                  <a:pt x="4281705" y="6098403"/>
                  <a:pt x="4282523" y="6093173"/>
                  <a:pt x="4284192" y="6088160"/>
                </a:cubicBezTo>
                <a:cubicBezTo>
                  <a:pt x="4285860" y="6083147"/>
                  <a:pt x="4288566" y="6079024"/>
                  <a:pt x="4292309" y="6075790"/>
                </a:cubicBezTo>
                <a:cubicBezTo>
                  <a:pt x="4296053" y="6072555"/>
                  <a:pt x="4301022" y="6070882"/>
                  <a:pt x="4307216" y="6070770"/>
                </a:cubicBezTo>
                <a:close/>
                <a:moveTo>
                  <a:pt x="5675348" y="6070237"/>
                </a:moveTo>
                <a:cubicBezTo>
                  <a:pt x="5681659" y="6070340"/>
                  <a:pt x="5686312" y="6072803"/>
                  <a:pt x="5689305" y="6077626"/>
                </a:cubicBezTo>
                <a:cubicBezTo>
                  <a:pt x="5692298" y="6082449"/>
                  <a:pt x="5693783" y="6089015"/>
                  <a:pt x="5693758" y="6097324"/>
                </a:cubicBezTo>
                <a:lnTo>
                  <a:pt x="5653336" y="6097324"/>
                </a:lnTo>
                <a:cubicBezTo>
                  <a:pt x="5654153" y="6088256"/>
                  <a:pt x="5656521" y="6081473"/>
                  <a:pt x="5660440" y="6076975"/>
                </a:cubicBezTo>
                <a:cubicBezTo>
                  <a:pt x="5664358" y="6072478"/>
                  <a:pt x="5669328" y="6070231"/>
                  <a:pt x="5675348" y="6070237"/>
                </a:cubicBezTo>
                <a:close/>
                <a:moveTo>
                  <a:pt x="4922873" y="6070237"/>
                </a:moveTo>
                <a:cubicBezTo>
                  <a:pt x="4929184" y="6070340"/>
                  <a:pt x="4933837" y="6072803"/>
                  <a:pt x="4936830" y="6077626"/>
                </a:cubicBezTo>
                <a:cubicBezTo>
                  <a:pt x="4939823" y="6082449"/>
                  <a:pt x="4941308" y="6089015"/>
                  <a:pt x="4941283" y="6097324"/>
                </a:cubicBezTo>
                <a:lnTo>
                  <a:pt x="4900861" y="6097324"/>
                </a:lnTo>
                <a:cubicBezTo>
                  <a:pt x="4901678" y="6088256"/>
                  <a:pt x="4904046" y="6081473"/>
                  <a:pt x="4907965" y="6076975"/>
                </a:cubicBezTo>
                <a:cubicBezTo>
                  <a:pt x="4911883" y="6072478"/>
                  <a:pt x="4916853" y="6070231"/>
                  <a:pt x="4922873" y="6070237"/>
                </a:cubicBezTo>
                <a:close/>
                <a:moveTo>
                  <a:pt x="5536119" y="6066520"/>
                </a:moveTo>
                <a:lnTo>
                  <a:pt x="5536119" y="6113233"/>
                </a:lnTo>
                <a:cubicBezTo>
                  <a:pt x="5536013" y="6117134"/>
                  <a:pt x="5536373" y="6121191"/>
                  <a:pt x="5537199" y="6125402"/>
                </a:cubicBezTo>
                <a:cubicBezTo>
                  <a:pt x="5538026" y="6129614"/>
                  <a:pt x="5539956" y="6133197"/>
                  <a:pt x="5542989" y="6136151"/>
                </a:cubicBezTo>
                <a:cubicBezTo>
                  <a:pt x="5546023" y="6139106"/>
                  <a:pt x="5550796" y="6140649"/>
                  <a:pt x="5557311" y="6140779"/>
                </a:cubicBezTo>
                <a:cubicBezTo>
                  <a:pt x="5563353" y="6140571"/>
                  <a:pt x="5568544" y="6139291"/>
                  <a:pt x="5572886" y="6136938"/>
                </a:cubicBezTo>
                <a:cubicBezTo>
                  <a:pt x="5577227" y="6134584"/>
                  <a:pt x="5580884" y="6132406"/>
                  <a:pt x="5583858" y="6130401"/>
                </a:cubicBezTo>
                <a:lnTo>
                  <a:pt x="5583858" y="6139179"/>
                </a:lnTo>
                <a:lnTo>
                  <a:pt x="5590776" y="6139179"/>
                </a:lnTo>
                <a:lnTo>
                  <a:pt x="5590776" y="6066520"/>
                </a:lnTo>
                <a:lnTo>
                  <a:pt x="5583858" y="6066520"/>
                </a:lnTo>
                <a:lnTo>
                  <a:pt x="5583858" y="6123343"/>
                </a:lnTo>
                <a:cubicBezTo>
                  <a:pt x="5582764" y="6124101"/>
                  <a:pt x="5580861" y="6125295"/>
                  <a:pt x="5578151" y="6126925"/>
                </a:cubicBezTo>
                <a:cubicBezTo>
                  <a:pt x="5575441" y="6128554"/>
                  <a:pt x="5572353" y="6130073"/>
                  <a:pt x="5568887" y="6131480"/>
                </a:cubicBezTo>
                <a:cubicBezTo>
                  <a:pt x="5565421" y="6132888"/>
                  <a:pt x="5562007" y="6133637"/>
                  <a:pt x="5558645" y="6133728"/>
                </a:cubicBezTo>
                <a:cubicBezTo>
                  <a:pt x="5553753" y="6133667"/>
                  <a:pt x="5550225" y="6132577"/>
                  <a:pt x="5548061" y="6130460"/>
                </a:cubicBezTo>
                <a:cubicBezTo>
                  <a:pt x="5545897" y="6128343"/>
                  <a:pt x="5544563" y="6125568"/>
                  <a:pt x="5544059" y="6122135"/>
                </a:cubicBezTo>
                <a:cubicBezTo>
                  <a:pt x="5543555" y="6118702"/>
                  <a:pt x="5543347" y="6114980"/>
                  <a:pt x="5543436" y="6110971"/>
                </a:cubicBezTo>
                <a:lnTo>
                  <a:pt x="5543436" y="6066520"/>
                </a:lnTo>
                <a:close/>
                <a:moveTo>
                  <a:pt x="4660352" y="6066520"/>
                </a:moveTo>
                <a:lnTo>
                  <a:pt x="4660352" y="6139179"/>
                </a:lnTo>
                <a:lnTo>
                  <a:pt x="4667937" y="6139179"/>
                </a:lnTo>
                <a:lnTo>
                  <a:pt x="4667937" y="6066520"/>
                </a:lnTo>
                <a:close/>
                <a:moveTo>
                  <a:pt x="4376614" y="6064653"/>
                </a:moveTo>
                <a:cubicBezTo>
                  <a:pt x="4371211" y="6064747"/>
                  <a:pt x="4366508" y="6065257"/>
                  <a:pt x="4362506" y="6066183"/>
                </a:cubicBezTo>
                <a:cubicBezTo>
                  <a:pt x="4358504" y="6067108"/>
                  <a:pt x="4356003" y="6067884"/>
                  <a:pt x="4355003" y="6068510"/>
                </a:cubicBezTo>
                <a:lnTo>
                  <a:pt x="4356603" y="6074640"/>
                </a:lnTo>
                <a:cubicBezTo>
                  <a:pt x="4357848" y="6074209"/>
                  <a:pt x="4360160" y="6073569"/>
                  <a:pt x="4363540" y="6072721"/>
                </a:cubicBezTo>
                <a:cubicBezTo>
                  <a:pt x="4366920" y="6071874"/>
                  <a:pt x="4370299" y="6071401"/>
                  <a:pt x="4373679" y="6071304"/>
                </a:cubicBezTo>
                <a:cubicBezTo>
                  <a:pt x="4380588" y="6071143"/>
                  <a:pt x="4385680" y="6072099"/>
                  <a:pt x="4388954" y="6074173"/>
                </a:cubicBezTo>
                <a:cubicBezTo>
                  <a:pt x="4392228" y="6076246"/>
                  <a:pt x="4393851" y="6080405"/>
                  <a:pt x="4393824" y="6086649"/>
                </a:cubicBezTo>
                <a:lnTo>
                  <a:pt x="4393824" y="6097724"/>
                </a:lnTo>
                <a:lnTo>
                  <a:pt x="4375280" y="6098123"/>
                </a:lnTo>
                <a:cubicBezTo>
                  <a:pt x="4371418" y="6098190"/>
                  <a:pt x="4367419" y="6098825"/>
                  <a:pt x="4363283" y="6100027"/>
                </a:cubicBezTo>
                <a:cubicBezTo>
                  <a:pt x="4359148" y="6101229"/>
                  <a:pt x="4355634" y="6103394"/>
                  <a:pt x="4352744" y="6106522"/>
                </a:cubicBezTo>
                <a:cubicBezTo>
                  <a:pt x="4349853" y="6109651"/>
                  <a:pt x="4348345" y="6114138"/>
                  <a:pt x="4348218" y="6119985"/>
                </a:cubicBezTo>
                <a:cubicBezTo>
                  <a:pt x="4348262" y="6126608"/>
                  <a:pt x="4349970" y="6131636"/>
                  <a:pt x="4353344" y="6135069"/>
                </a:cubicBezTo>
                <a:cubicBezTo>
                  <a:pt x="4356718" y="6138501"/>
                  <a:pt x="4361495" y="6140227"/>
                  <a:pt x="4367676" y="6140246"/>
                </a:cubicBezTo>
                <a:cubicBezTo>
                  <a:pt x="4373031" y="6140159"/>
                  <a:pt x="4377499" y="6139446"/>
                  <a:pt x="4381081" y="6138106"/>
                </a:cubicBezTo>
                <a:cubicBezTo>
                  <a:pt x="4384662" y="6136767"/>
                  <a:pt x="4387510" y="6135324"/>
                  <a:pt x="4389623" y="6133777"/>
                </a:cubicBezTo>
                <a:cubicBezTo>
                  <a:pt x="4391737" y="6132230"/>
                  <a:pt x="4393270" y="6131102"/>
                  <a:pt x="4394223" y="6130392"/>
                </a:cubicBezTo>
                <a:cubicBezTo>
                  <a:pt x="4394680" y="6133761"/>
                  <a:pt x="4396094" y="6136207"/>
                  <a:pt x="4398465" y="6137731"/>
                </a:cubicBezTo>
                <a:cubicBezTo>
                  <a:pt x="4400836" y="6139254"/>
                  <a:pt x="4403417" y="6140004"/>
                  <a:pt x="4406209" y="6139979"/>
                </a:cubicBezTo>
                <a:lnTo>
                  <a:pt x="4407275" y="6139979"/>
                </a:lnTo>
                <a:lnTo>
                  <a:pt x="4407942" y="6133995"/>
                </a:lnTo>
                <a:cubicBezTo>
                  <a:pt x="4406370" y="6133878"/>
                  <a:pt x="4404847" y="6133278"/>
                  <a:pt x="4403375" y="6132194"/>
                </a:cubicBezTo>
                <a:cubicBezTo>
                  <a:pt x="4401902" y="6131110"/>
                  <a:pt x="4401113" y="6129042"/>
                  <a:pt x="4401008" y="6125989"/>
                </a:cubicBezTo>
                <a:lnTo>
                  <a:pt x="4401008" y="6083313"/>
                </a:lnTo>
                <a:cubicBezTo>
                  <a:pt x="4400892" y="6076525"/>
                  <a:pt x="4398627" y="6071698"/>
                  <a:pt x="4394214" y="6068831"/>
                </a:cubicBezTo>
                <a:cubicBezTo>
                  <a:pt x="4389800" y="6065964"/>
                  <a:pt x="4383934" y="6064572"/>
                  <a:pt x="4376614" y="6064653"/>
                </a:cubicBezTo>
                <a:close/>
                <a:moveTo>
                  <a:pt x="4224214" y="6064653"/>
                </a:moveTo>
                <a:cubicBezTo>
                  <a:pt x="4218811" y="6064747"/>
                  <a:pt x="4214108" y="6065257"/>
                  <a:pt x="4210106" y="6066183"/>
                </a:cubicBezTo>
                <a:cubicBezTo>
                  <a:pt x="4206104" y="6067108"/>
                  <a:pt x="4203603" y="6067884"/>
                  <a:pt x="4202603" y="6068510"/>
                </a:cubicBezTo>
                <a:lnTo>
                  <a:pt x="4204203" y="6074640"/>
                </a:lnTo>
                <a:cubicBezTo>
                  <a:pt x="4205448" y="6074209"/>
                  <a:pt x="4207760" y="6073569"/>
                  <a:pt x="4211140" y="6072721"/>
                </a:cubicBezTo>
                <a:cubicBezTo>
                  <a:pt x="4214520" y="6071874"/>
                  <a:pt x="4217899" y="6071401"/>
                  <a:pt x="4221279" y="6071304"/>
                </a:cubicBezTo>
                <a:cubicBezTo>
                  <a:pt x="4228188" y="6071143"/>
                  <a:pt x="4233280" y="6072099"/>
                  <a:pt x="4236554" y="6074173"/>
                </a:cubicBezTo>
                <a:cubicBezTo>
                  <a:pt x="4239828" y="6076246"/>
                  <a:pt x="4241451" y="6080405"/>
                  <a:pt x="4241424" y="6086649"/>
                </a:cubicBezTo>
                <a:lnTo>
                  <a:pt x="4241424" y="6097724"/>
                </a:lnTo>
                <a:lnTo>
                  <a:pt x="4222880" y="6098123"/>
                </a:lnTo>
                <a:cubicBezTo>
                  <a:pt x="4219018" y="6098190"/>
                  <a:pt x="4215019" y="6098825"/>
                  <a:pt x="4210883" y="6100027"/>
                </a:cubicBezTo>
                <a:cubicBezTo>
                  <a:pt x="4206748" y="6101229"/>
                  <a:pt x="4203234" y="6103394"/>
                  <a:pt x="4200344" y="6106522"/>
                </a:cubicBezTo>
                <a:cubicBezTo>
                  <a:pt x="4197453" y="6109651"/>
                  <a:pt x="4195945" y="6114138"/>
                  <a:pt x="4195818" y="6119985"/>
                </a:cubicBezTo>
                <a:cubicBezTo>
                  <a:pt x="4195862" y="6126608"/>
                  <a:pt x="4197570" y="6131636"/>
                  <a:pt x="4200944" y="6135069"/>
                </a:cubicBezTo>
                <a:cubicBezTo>
                  <a:pt x="4204318" y="6138501"/>
                  <a:pt x="4209095" y="6140227"/>
                  <a:pt x="4215276" y="6140246"/>
                </a:cubicBezTo>
                <a:cubicBezTo>
                  <a:pt x="4220631" y="6140159"/>
                  <a:pt x="4225099" y="6139446"/>
                  <a:pt x="4228681" y="6138106"/>
                </a:cubicBezTo>
                <a:cubicBezTo>
                  <a:pt x="4232262" y="6136767"/>
                  <a:pt x="4235110" y="6135324"/>
                  <a:pt x="4237223" y="6133777"/>
                </a:cubicBezTo>
                <a:cubicBezTo>
                  <a:pt x="4239337" y="6132230"/>
                  <a:pt x="4240870" y="6131102"/>
                  <a:pt x="4241823" y="6130392"/>
                </a:cubicBezTo>
                <a:cubicBezTo>
                  <a:pt x="4242280" y="6133761"/>
                  <a:pt x="4243694" y="6136207"/>
                  <a:pt x="4246065" y="6137731"/>
                </a:cubicBezTo>
                <a:cubicBezTo>
                  <a:pt x="4248436" y="6139254"/>
                  <a:pt x="4251017" y="6140004"/>
                  <a:pt x="4253809" y="6139979"/>
                </a:cubicBezTo>
                <a:lnTo>
                  <a:pt x="4254875" y="6139979"/>
                </a:lnTo>
                <a:lnTo>
                  <a:pt x="4255542" y="6133995"/>
                </a:lnTo>
                <a:cubicBezTo>
                  <a:pt x="4253970" y="6133878"/>
                  <a:pt x="4252447" y="6133278"/>
                  <a:pt x="4250975" y="6132194"/>
                </a:cubicBezTo>
                <a:cubicBezTo>
                  <a:pt x="4249502" y="6131110"/>
                  <a:pt x="4248713" y="6129042"/>
                  <a:pt x="4248608" y="6125989"/>
                </a:cubicBezTo>
                <a:lnTo>
                  <a:pt x="4248608" y="6083313"/>
                </a:lnTo>
                <a:cubicBezTo>
                  <a:pt x="4248492" y="6076525"/>
                  <a:pt x="4246227" y="6071698"/>
                  <a:pt x="4241814" y="6068831"/>
                </a:cubicBezTo>
                <a:cubicBezTo>
                  <a:pt x="4237401" y="6065964"/>
                  <a:pt x="4231534" y="6064572"/>
                  <a:pt x="4224214" y="6064653"/>
                </a:cubicBezTo>
                <a:close/>
                <a:moveTo>
                  <a:pt x="5676949" y="6064520"/>
                </a:moveTo>
                <a:cubicBezTo>
                  <a:pt x="5668061" y="6064336"/>
                  <a:pt x="5660694" y="6067267"/>
                  <a:pt x="5654847" y="6073313"/>
                </a:cubicBezTo>
                <a:cubicBezTo>
                  <a:pt x="5648999" y="6079360"/>
                  <a:pt x="5645967" y="6089625"/>
                  <a:pt x="5645751" y="6104108"/>
                </a:cubicBezTo>
                <a:cubicBezTo>
                  <a:pt x="5645854" y="6117719"/>
                  <a:pt x="5648813" y="6127283"/>
                  <a:pt x="5654630" y="6132801"/>
                </a:cubicBezTo>
                <a:cubicBezTo>
                  <a:pt x="5660447" y="6138318"/>
                  <a:pt x="5668509" y="6140977"/>
                  <a:pt x="5678816" y="6140779"/>
                </a:cubicBezTo>
                <a:cubicBezTo>
                  <a:pt x="5685255" y="6140660"/>
                  <a:pt x="5690350" y="6140133"/>
                  <a:pt x="5694100" y="6139199"/>
                </a:cubicBezTo>
                <a:cubicBezTo>
                  <a:pt x="5697850" y="6138266"/>
                  <a:pt x="5700043" y="6137639"/>
                  <a:pt x="5700677" y="6137321"/>
                </a:cubicBezTo>
                <a:lnTo>
                  <a:pt x="5699213" y="6130926"/>
                </a:lnTo>
                <a:cubicBezTo>
                  <a:pt x="5698390" y="6131216"/>
                  <a:pt x="5696974" y="6131600"/>
                  <a:pt x="5694965" y="6132078"/>
                </a:cubicBezTo>
                <a:cubicBezTo>
                  <a:pt x="5692957" y="6132555"/>
                  <a:pt x="5690769" y="6132988"/>
                  <a:pt x="5688404" y="6133377"/>
                </a:cubicBezTo>
                <a:cubicBezTo>
                  <a:pt x="5686039" y="6133766"/>
                  <a:pt x="5683910" y="6133972"/>
                  <a:pt x="5682018" y="6133995"/>
                </a:cubicBezTo>
                <a:cubicBezTo>
                  <a:pt x="5676552" y="6134104"/>
                  <a:pt x="5671712" y="6133411"/>
                  <a:pt x="5667497" y="6131915"/>
                </a:cubicBezTo>
                <a:cubicBezTo>
                  <a:pt x="5663281" y="6130418"/>
                  <a:pt x="5659933" y="6127461"/>
                  <a:pt x="5657452" y="6123044"/>
                </a:cubicBezTo>
                <a:cubicBezTo>
                  <a:pt x="5654970" y="6118627"/>
                  <a:pt x="5653599" y="6112093"/>
                  <a:pt x="5653336" y="6103441"/>
                </a:cubicBezTo>
                <a:lnTo>
                  <a:pt x="5701609" y="6103441"/>
                </a:lnTo>
                <a:lnTo>
                  <a:pt x="5701609" y="6100781"/>
                </a:lnTo>
                <a:cubicBezTo>
                  <a:pt x="5701623" y="6088359"/>
                  <a:pt x="5699598" y="6079198"/>
                  <a:pt x="5695532" y="6073298"/>
                </a:cubicBezTo>
                <a:cubicBezTo>
                  <a:pt x="5691466" y="6067398"/>
                  <a:pt x="5685272" y="6064472"/>
                  <a:pt x="5676949" y="6064520"/>
                </a:cubicBezTo>
                <a:close/>
                <a:moveTo>
                  <a:pt x="5421097" y="6064520"/>
                </a:moveTo>
                <a:cubicBezTo>
                  <a:pt x="5411108" y="6064627"/>
                  <a:pt x="5403221" y="6068042"/>
                  <a:pt x="5397436" y="6074765"/>
                </a:cubicBezTo>
                <a:cubicBezTo>
                  <a:pt x="5391651" y="6081487"/>
                  <a:pt x="5388698" y="6090871"/>
                  <a:pt x="5388577" y="6102916"/>
                </a:cubicBezTo>
                <a:cubicBezTo>
                  <a:pt x="5388526" y="6115973"/>
                  <a:pt x="5391390" y="6125502"/>
                  <a:pt x="5397169" y="6131502"/>
                </a:cubicBezTo>
                <a:cubicBezTo>
                  <a:pt x="5402949" y="6137501"/>
                  <a:pt x="5411947" y="6140460"/>
                  <a:pt x="5424164" y="6140379"/>
                </a:cubicBezTo>
                <a:cubicBezTo>
                  <a:pt x="5427948" y="6140304"/>
                  <a:pt x="5431349" y="6139955"/>
                  <a:pt x="5434366" y="6139332"/>
                </a:cubicBezTo>
                <a:cubicBezTo>
                  <a:pt x="5437383" y="6138708"/>
                  <a:pt x="5439316" y="6138259"/>
                  <a:pt x="5440166" y="6137985"/>
                </a:cubicBezTo>
                <a:lnTo>
                  <a:pt x="5438833" y="6131727"/>
                </a:lnTo>
                <a:cubicBezTo>
                  <a:pt x="5437749" y="6131980"/>
                  <a:pt x="5435949" y="6132342"/>
                  <a:pt x="5433432" y="6132811"/>
                </a:cubicBezTo>
                <a:cubicBezTo>
                  <a:pt x="5430915" y="6133281"/>
                  <a:pt x="5428181" y="6133542"/>
                  <a:pt x="5425231" y="6133595"/>
                </a:cubicBezTo>
                <a:cubicBezTo>
                  <a:pt x="5414452" y="6133628"/>
                  <a:pt x="5406873" y="6131094"/>
                  <a:pt x="5402495" y="6125992"/>
                </a:cubicBezTo>
                <a:cubicBezTo>
                  <a:pt x="5398117" y="6120890"/>
                  <a:pt x="5396005" y="6113020"/>
                  <a:pt x="5396161" y="6102383"/>
                </a:cubicBezTo>
                <a:cubicBezTo>
                  <a:pt x="5396236" y="6092610"/>
                  <a:pt x="5398419" y="6084946"/>
                  <a:pt x="5402712" y="6079391"/>
                </a:cubicBezTo>
                <a:cubicBezTo>
                  <a:pt x="5407004" y="6073835"/>
                  <a:pt x="5412955" y="6071007"/>
                  <a:pt x="5420564" y="6070904"/>
                </a:cubicBezTo>
                <a:cubicBezTo>
                  <a:pt x="5424737" y="6070968"/>
                  <a:pt x="5428193" y="6071407"/>
                  <a:pt x="5430932" y="6072221"/>
                </a:cubicBezTo>
                <a:cubicBezTo>
                  <a:pt x="5433671" y="6073035"/>
                  <a:pt x="5435860" y="6073841"/>
                  <a:pt x="5437499" y="6074639"/>
                </a:cubicBezTo>
                <a:lnTo>
                  <a:pt x="5440033" y="6068377"/>
                </a:lnTo>
                <a:cubicBezTo>
                  <a:pt x="5438452" y="6067460"/>
                  <a:pt x="5436113" y="6066601"/>
                  <a:pt x="5433015" y="6065800"/>
                </a:cubicBezTo>
                <a:cubicBezTo>
                  <a:pt x="5429918" y="6064999"/>
                  <a:pt x="5425945" y="6064572"/>
                  <a:pt x="5421097" y="6064520"/>
                </a:cubicBezTo>
                <a:close/>
                <a:moveTo>
                  <a:pt x="5356756" y="6064520"/>
                </a:moveTo>
                <a:cubicBezTo>
                  <a:pt x="5349771" y="6064544"/>
                  <a:pt x="5344165" y="6066191"/>
                  <a:pt x="5339938" y="6069462"/>
                </a:cubicBezTo>
                <a:cubicBezTo>
                  <a:pt x="5335710" y="6072733"/>
                  <a:pt x="5333540" y="6077482"/>
                  <a:pt x="5333427" y="6083709"/>
                </a:cubicBezTo>
                <a:cubicBezTo>
                  <a:pt x="5333618" y="6089700"/>
                  <a:pt x="5335528" y="6094224"/>
                  <a:pt x="5339157" y="6097279"/>
                </a:cubicBezTo>
                <a:cubicBezTo>
                  <a:pt x="5342786" y="6100334"/>
                  <a:pt x="5346987" y="6102785"/>
                  <a:pt x="5351762" y="6104634"/>
                </a:cubicBezTo>
                <a:cubicBezTo>
                  <a:pt x="5356537" y="6106482"/>
                  <a:pt x="5360739" y="6108592"/>
                  <a:pt x="5364368" y="6110963"/>
                </a:cubicBezTo>
                <a:cubicBezTo>
                  <a:pt x="5367997" y="6113334"/>
                  <a:pt x="5369907" y="6116832"/>
                  <a:pt x="5370098" y="6121457"/>
                </a:cubicBezTo>
                <a:cubicBezTo>
                  <a:pt x="5369984" y="6125555"/>
                  <a:pt x="5368111" y="6128729"/>
                  <a:pt x="5364478" y="6130977"/>
                </a:cubicBezTo>
                <a:cubicBezTo>
                  <a:pt x="5360844" y="6133225"/>
                  <a:pt x="5356136" y="6134364"/>
                  <a:pt x="5350351" y="6134395"/>
                </a:cubicBezTo>
                <a:cubicBezTo>
                  <a:pt x="5346743" y="6134323"/>
                  <a:pt x="5343355" y="6133900"/>
                  <a:pt x="5340185" y="6133128"/>
                </a:cubicBezTo>
                <a:cubicBezTo>
                  <a:pt x="5337015" y="6132355"/>
                  <a:pt x="5334496" y="6131666"/>
                  <a:pt x="5332627" y="6131060"/>
                </a:cubicBezTo>
                <a:lnTo>
                  <a:pt x="5331027" y="6137587"/>
                </a:lnTo>
                <a:cubicBezTo>
                  <a:pt x="5332711" y="6138180"/>
                  <a:pt x="5335236" y="6138823"/>
                  <a:pt x="5338603" y="6139515"/>
                </a:cubicBezTo>
                <a:cubicBezTo>
                  <a:pt x="5341969" y="6140208"/>
                  <a:pt x="5346063" y="6140585"/>
                  <a:pt x="5350885" y="6140646"/>
                </a:cubicBezTo>
                <a:cubicBezTo>
                  <a:pt x="5354944" y="6140692"/>
                  <a:pt x="5358950" y="6140127"/>
                  <a:pt x="5362903" y="6138950"/>
                </a:cubicBezTo>
                <a:cubicBezTo>
                  <a:pt x="5366855" y="6137773"/>
                  <a:pt x="5370148" y="6135707"/>
                  <a:pt x="5372781" y="6132752"/>
                </a:cubicBezTo>
                <a:cubicBezTo>
                  <a:pt x="5375414" y="6129798"/>
                  <a:pt x="5376781" y="6125677"/>
                  <a:pt x="5376882" y="6120390"/>
                </a:cubicBezTo>
                <a:cubicBezTo>
                  <a:pt x="5376693" y="6114659"/>
                  <a:pt x="5374797" y="6110314"/>
                  <a:pt x="5371194" y="6107353"/>
                </a:cubicBezTo>
                <a:cubicBezTo>
                  <a:pt x="5367592" y="6104393"/>
                  <a:pt x="5363420" y="6101986"/>
                  <a:pt x="5358680" y="6100132"/>
                </a:cubicBezTo>
                <a:cubicBezTo>
                  <a:pt x="5353940" y="6098278"/>
                  <a:pt x="5349769" y="6096146"/>
                  <a:pt x="5346166" y="6093736"/>
                </a:cubicBezTo>
                <a:cubicBezTo>
                  <a:pt x="5342563" y="6091325"/>
                  <a:pt x="5340667" y="6087805"/>
                  <a:pt x="5340478" y="6083175"/>
                </a:cubicBezTo>
                <a:cubicBezTo>
                  <a:pt x="5340494" y="6079688"/>
                  <a:pt x="5341762" y="6076792"/>
                  <a:pt x="5344280" y="6074489"/>
                </a:cubicBezTo>
                <a:cubicBezTo>
                  <a:pt x="5346799" y="6072185"/>
                  <a:pt x="5350468" y="6070990"/>
                  <a:pt x="5355288" y="6070904"/>
                </a:cubicBezTo>
                <a:cubicBezTo>
                  <a:pt x="5359369" y="6070973"/>
                  <a:pt x="5362748" y="6071334"/>
                  <a:pt x="5365428" y="6071988"/>
                </a:cubicBezTo>
                <a:cubicBezTo>
                  <a:pt x="5368107" y="6072641"/>
                  <a:pt x="5370018" y="6073169"/>
                  <a:pt x="5371162" y="6073572"/>
                </a:cubicBezTo>
                <a:lnTo>
                  <a:pt x="5372625" y="6067313"/>
                </a:lnTo>
                <a:cubicBezTo>
                  <a:pt x="5371816" y="6067022"/>
                  <a:pt x="5369972" y="6066506"/>
                  <a:pt x="5367094" y="6065766"/>
                </a:cubicBezTo>
                <a:cubicBezTo>
                  <a:pt x="5364215" y="6065027"/>
                  <a:pt x="5360769" y="6064611"/>
                  <a:pt x="5356756" y="6064520"/>
                </a:cubicBezTo>
                <a:close/>
                <a:moveTo>
                  <a:pt x="5221072" y="6064520"/>
                </a:moveTo>
                <a:cubicBezTo>
                  <a:pt x="5211083" y="6064627"/>
                  <a:pt x="5203196" y="6068042"/>
                  <a:pt x="5197411" y="6074765"/>
                </a:cubicBezTo>
                <a:cubicBezTo>
                  <a:pt x="5191626" y="6081487"/>
                  <a:pt x="5188673" y="6090871"/>
                  <a:pt x="5188551" y="6102916"/>
                </a:cubicBezTo>
                <a:cubicBezTo>
                  <a:pt x="5188501" y="6115973"/>
                  <a:pt x="5191365" y="6125502"/>
                  <a:pt x="5197144" y="6131502"/>
                </a:cubicBezTo>
                <a:cubicBezTo>
                  <a:pt x="5202923" y="6137501"/>
                  <a:pt x="5211922" y="6140460"/>
                  <a:pt x="5224139" y="6140379"/>
                </a:cubicBezTo>
                <a:cubicBezTo>
                  <a:pt x="5227923" y="6140304"/>
                  <a:pt x="5231324" y="6139955"/>
                  <a:pt x="5234341" y="6139332"/>
                </a:cubicBezTo>
                <a:cubicBezTo>
                  <a:pt x="5237358" y="6138708"/>
                  <a:pt x="5239291" y="6138259"/>
                  <a:pt x="5240141" y="6137985"/>
                </a:cubicBezTo>
                <a:lnTo>
                  <a:pt x="5238808" y="6131727"/>
                </a:lnTo>
                <a:cubicBezTo>
                  <a:pt x="5237724" y="6131980"/>
                  <a:pt x="5235924" y="6132342"/>
                  <a:pt x="5233407" y="6132811"/>
                </a:cubicBezTo>
                <a:cubicBezTo>
                  <a:pt x="5230890" y="6133281"/>
                  <a:pt x="5228156" y="6133542"/>
                  <a:pt x="5225206" y="6133595"/>
                </a:cubicBezTo>
                <a:cubicBezTo>
                  <a:pt x="5214427" y="6133628"/>
                  <a:pt x="5206848" y="6131094"/>
                  <a:pt x="5202470" y="6125992"/>
                </a:cubicBezTo>
                <a:cubicBezTo>
                  <a:pt x="5198092" y="6120890"/>
                  <a:pt x="5195980" y="6113020"/>
                  <a:pt x="5196136" y="6102383"/>
                </a:cubicBezTo>
                <a:cubicBezTo>
                  <a:pt x="5196211" y="6092610"/>
                  <a:pt x="5198394" y="6084946"/>
                  <a:pt x="5202687" y="6079391"/>
                </a:cubicBezTo>
                <a:cubicBezTo>
                  <a:pt x="5206979" y="6073835"/>
                  <a:pt x="5212930" y="6071007"/>
                  <a:pt x="5220539" y="6070904"/>
                </a:cubicBezTo>
                <a:cubicBezTo>
                  <a:pt x="5224712" y="6070968"/>
                  <a:pt x="5228168" y="6071407"/>
                  <a:pt x="5230907" y="6072221"/>
                </a:cubicBezTo>
                <a:cubicBezTo>
                  <a:pt x="5233646" y="6073035"/>
                  <a:pt x="5235835" y="6073841"/>
                  <a:pt x="5237474" y="6074639"/>
                </a:cubicBezTo>
                <a:lnTo>
                  <a:pt x="5240008" y="6068377"/>
                </a:lnTo>
                <a:cubicBezTo>
                  <a:pt x="5238427" y="6067460"/>
                  <a:pt x="5236088" y="6066601"/>
                  <a:pt x="5232990" y="6065800"/>
                </a:cubicBezTo>
                <a:cubicBezTo>
                  <a:pt x="5229893" y="6064999"/>
                  <a:pt x="5225920" y="6064572"/>
                  <a:pt x="5221072" y="6064520"/>
                </a:cubicBezTo>
                <a:close/>
                <a:moveTo>
                  <a:pt x="5144481" y="6064520"/>
                </a:moveTo>
                <a:cubicBezTo>
                  <a:pt x="5135088" y="6064555"/>
                  <a:pt x="5127432" y="6067881"/>
                  <a:pt x="5121513" y="6074498"/>
                </a:cubicBezTo>
                <a:cubicBezTo>
                  <a:pt x="5115594" y="6081114"/>
                  <a:pt x="5112540" y="6090810"/>
                  <a:pt x="5112351" y="6103583"/>
                </a:cubicBezTo>
                <a:cubicBezTo>
                  <a:pt x="5112456" y="6115695"/>
                  <a:pt x="5115277" y="6124912"/>
                  <a:pt x="5120813" y="6131235"/>
                </a:cubicBezTo>
                <a:cubicBezTo>
                  <a:pt x="5126348" y="6137557"/>
                  <a:pt x="5133971" y="6140738"/>
                  <a:pt x="5143680" y="6140779"/>
                </a:cubicBezTo>
                <a:cubicBezTo>
                  <a:pt x="5152940" y="6140805"/>
                  <a:pt x="5160495" y="6137690"/>
                  <a:pt x="5166348" y="6131435"/>
                </a:cubicBezTo>
                <a:cubicBezTo>
                  <a:pt x="5172201" y="6125179"/>
                  <a:pt x="5175221" y="6115629"/>
                  <a:pt x="5175409" y="6102783"/>
                </a:cubicBezTo>
                <a:cubicBezTo>
                  <a:pt x="5175413" y="6090393"/>
                  <a:pt x="5172843" y="6080931"/>
                  <a:pt x="5167699" y="6074398"/>
                </a:cubicBezTo>
                <a:cubicBezTo>
                  <a:pt x="5162555" y="6067864"/>
                  <a:pt x="5154815" y="6064572"/>
                  <a:pt x="5144481" y="6064520"/>
                </a:cubicBezTo>
                <a:close/>
                <a:moveTo>
                  <a:pt x="4924473" y="6064520"/>
                </a:moveTo>
                <a:cubicBezTo>
                  <a:pt x="4915586" y="6064336"/>
                  <a:pt x="4908219" y="6067267"/>
                  <a:pt x="4902371" y="6073313"/>
                </a:cubicBezTo>
                <a:cubicBezTo>
                  <a:pt x="4896524" y="6079360"/>
                  <a:pt x="4893493" y="6089625"/>
                  <a:pt x="4893277" y="6104108"/>
                </a:cubicBezTo>
                <a:cubicBezTo>
                  <a:pt x="4893379" y="6117719"/>
                  <a:pt x="4896338" y="6127283"/>
                  <a:pt x="4902155" y="6132801"/>
                </a:cubicBezTo>
                <a:cubicBezTo>
                  <a:pt x="4907972" y="6138318"/>
                  <a:pt x="4916034" y="6140977"/>
                  <a:pt x="4926341" y="6140779"/>
                </a:cubicBezTo>
                <a:cubicBezTo>
                  <a:pt x="4932780" y="6140660"/>
                  <a:pt x="4937875" y="6140133"/>
                  <a:pt x="4941625" y="6139199"/>
                </a:cubicBezTo>
                <a:cubicBezTo>
                  <a:pt x="4945375" y="6138266"/>
                  <a:pt x="4947568" y="6137639"/>
                  <a:pt x="4948202" y="6137321"/>
                </a:cubicBezTo>
                <a:lnTo>
                  <a:pt x="4946738" y="6130926"/>
                </a:lnTo>
                <a:cubicBezTo>
                  <a:pt x="4945915" y="6131216"/>
                  <a:pt x="4944499" y="6131600"/>
                  <a:pt x="4942490" y="6132078"/>
                </a:cubicBezTo>
                <a:cubicBezTo>
                  <a:pt x="4940481" y="6132555"/>
                  <a:pt x="4938294" y="6132988"/>
                  <a:pt x="4935929" y="6133377"/>
                </a:cubicBezTo>
                <a:cubicBezTo>
                  <a:pt x="4933564" y="6133766"/>
                  <a:pt x="4931435" y="6133972"/>
                  <a:pt x="4929543" y="6133995"/>
                </a:cubicBezTo>
                <a:cubicBezTo>
                  <a:pt x="4924077" y="6134104"/>
                  <a:pt x="4919237" y="6133411"/>
                  <a:pt x="4915021" y="6131915"/>
                </a:cubicBezTo>
                <a:cubicBezTo>
                  <a:pt x="4910806" y="6130418"/>
                  <a:pt x="4907458" y="6127461"/>
                  <a:pt x="4904977" y="6123044"/>
                </a:cubicBezTo>
                <a:cubicBezTo>
                  <a:pt x="4902495" y="6118627"/>
                  <a:pt x="4901124" y="6112093"/>
                  <a:pt x="4900861" y="6103441"/>
                </a:cubicBezTo>
                <a:lnTo>
                  <a:pt x="4949134" y="6103441"/>
                </a:lnTo>
                <a:lnTo>
                  <a:pt x="4949134" y="6100781"/>
                </a:lnTo>
                <a:cubicBezTo>
                  <a:pt x="4949148" y="6088359"/>
                  <a:pt x="4947123" y="6079198"/>
                  <a:pt x="4943057" y="6073298"/>
                </a:cubicBezTo>
                <a:cubicBezTo>
                  <a:pt x="4938991" y="6067398"/>
                  <a:pt x="4932797" y="6064472"/>
                  <a:pt x="4924473" y="6064520"/>
                </a:cubicBezTo>
                <a:close/>
                <a:moveTo>
                  <a:pt x="4782922" y="6064520"/>
                </a:moveTo>
                <a:cubicBezTo>
                  <a:pt x="4772933" y="6064627"/>
                  <a:pt x="4765046" y="6068042"/>
                  <a:pt x="4759261" y="6074765"/>
                </a:cubicBezTo>
                <a:cubicBezTo>
                  <a:pt x="4753476" y="6081487"/>
                  <a:pt x="4750523" y="6090871"/>
                  <a:pt x="4750402" y="6102916"/>
                </a:cubicBezTo>
                <a:cubicBezTo>
                  <a:pt x="4750351" y="6115973"/>
                  <a:pt x="4753215" y="6125502"/>
                  <a:pt x="4758994" y="6131502"/>
                </a:cubicBezTo>
                <a:cubicBezTo>
                  <a:pt x="4764773" y="6137501"/>
                  <a:pt x="4773772" y="6140460"/>
                  <a:pt x="4785989" y="6140379"/>
                </a:cubicBezTo>
                <a:cubicBezTo>
                  <a:pt x="4789773" y="6140304"/>
                  <a:pt x="4793174" y="6139955"/>
                  <a:pt x="4796191" y="6139332"/>
                </a:cubicBezTo>
                <a:cubicBezTo>
                  <a:pt x="4799208" y="6138708"/>
                  <a:pt x="4801141" y="6138259"/>
                  <a:pt x="4801991" y="6137985"/>
                </a:cubicBezTo>
                <a:lnTo>
                  <a:pt x="4800658" y="6131727"/>
                </a:lnTo>
                <a:cubicBezTo>
                  <a:pt x="4799574" y="6131980"/>
                  <a:pt x="4797774" y="6132342"/>
                  <a:pt x="4795257" y="6132811"/>
                </a:cubicBezTo>
                <a:cubicBezTo>
                  <a:pt x="4792740" y="6133281"/>
                  <a:pt x="4790006" y="6133542"/>
                  <a:pt x="4787056" y="6133595"/>
                </a:cubicBezTo>
                <a:cubicBezTo>
                  <a:pt x="4776277" y="6133628"/>
                  <a:pt x="4768698" y="6131094"/>
                  <a:pt x="4764320" y="6125992"/>
                </a:cubicBezTo>
                <a:cubicBezTo>
                  <a:pt x="4759942" y="6120890"/>
                  <a:pt x="4757830" y="6113020"/>
                  <a:pt x="4757986" y="6102383"/>
                </a:cubicBezTo>
                <a:cubicBezTo>
                  <a:pt x="4758061" y="6092610"/>
                  <a:pt x="4760244" y="6084946"/>
                  <a:pt x="4764537" y="6079391"/>
                </a:cubicBezTo>
                <a:cubicBezTo>
                  <a:pt x="4768829" y="6073835"/>
                  <a:pt x="4774780" y="6071007"/>
                  <a:pt x="4782389" y="6070904"/>
                </a:cubicBezTo>
                <a:cubicBezTo>
                  <a:pt x="4786562" y="6070968"/>
                  <a:pt x="4790018" y="6071407"/>
                  <a:pt x="4792757" y="6072221"/>
                </a:cubicBezTo>
                <a:cubicBezTo>
                  <a:pt x="4795496" y="6073035"/>
                  <a:pt x="4797685" y="6073841"/>
                  <a:pt x="4799324" y="6074639"/>
                </a:cubicBezTo>
                <a:lnTo>
                  <a:pt x="4801858" y="6068377"/>
                </a:lnTo>
                <a:cubicBezTo>
                  <a:pt x="4800277" y="6067460"/>
                  <a:pt x="4797938" y="6066601"/>
                  <a:pt x="4794840" y="6065800"/>
                </a:cubicBezTo>
                <a:cubicBezTo>
                  <a:pt x="4791743" y="6064999"/>
                  <a:pt x="4787770" y="6064572"/>
                  <a:pt x="4782922" y="6064520"/>
                </a:cubicBezTo>
                <a:close/>
                <a:moveTo>
                  <a:pt x="4718581" y="6064520"/>
                </a:moveTo>
                <a:cubicBezTo>
                  <a:pt x="4711596" y="6064544"/>
                  <a:pt x="4705990" y="6066191"/>
                  <a:pt x="4701763" y="6069462"/>
                </a:cubicBezTo>
                <a:cubicBezTo>
                  <a:pt x="4697535" y="6072733"/>
                  <a:pt x="4695365" y="6077482"/>
                  <a:pt x="4695252" y="6083709"/>
                </a:cubicBezTo>
                <a:cubicBezTo>
                  <a:pt x="4695443" y="6089700"/>
                  <a:pt x="4697353" y="6094224"/>
                  <a:pt x="4700982" y="6097279"/>
                </a:cubicBezTo>
                <a:cubicBezTo>
                  <a:pt x="4704611" y="6100334"/>
                  <a:pt x="4708813" y="6102785"/>
                  <a:pt x="4713587" y="6104634"/>
                </a:cubicBezTo>
                <a:cubicBezTo>
                  <a:pt x="4718362" y="6106482"/>
                  <a:pt x="4722564" y="6108592"/>
                  <a:pt x="4726193" y="6110963"/>
                </a:cubicBezTo>
                <a:cubicBezTo>
                  <a:pt x="4729822" y="6113334"/>
                  <a:pt x="4731732" y="6116832"/>
                  <a:pt x="4731923" y="6121457"/>
                </a:cubicBezTo>
                <a:cubicBezTo>
                  <a:pt x="4731809" y="6125555"/>
                  <a:pt x="4729936" y="6128729"/>
                  <a:pt x="4726302" y="6130977"/>
                </a:cubicBezTo>
                <a:cubicBezTo>
                  <a:pt x="4722670" y="6133225"/>
                  <a:pt x="4717961" y="6134364"/>
                  <a:pt x="4712176" y="6134395"/>
                </a:cubicBezTo>
                <a:cubicBezTo>
                  <a:pt x="4708568" y="6134323"/>
                  <a:pt x="4705180" y="6133900"/>
                  <a:pt x="4702010" y="6133128"/>
                </a:cubicBezTo>
                <a:cubicBezTo>
                  <a:pt x="4698840" y="6132355"/>
                  <a:pt x="4696321" y="6131666"/>
                  <a:pt x="4694452" y="6131060"/>
                </a:cubicBezTo>
                <a:lnTo>
                  <a:pt x="4692852" y="6137587"/>
                </a:lnTo>
                <a:cubicBezTo>
                  <a:pt x="4694536" y="6138180"/>
                  <a:pt x="4697061" y="6138823"/>
                  <a:pt x="4700428" y="6139515"/>
                </a:cubicBezTo>
                <a:cubicBezTo>
                  <a:pt x="4703794" y="6140208"/>
                  <a:pt x="4707888" y="6140585"/>
                  <a:pt x="4712710" y="6140646"/>
                </a:cubicBezTo>
                <a:cubicBezTo>
                  <a:pt x="4716769" y="6140692"/>
                  <a:pt x="4720775" y="6140127"/>
                  <a:pt x="4724728" y="6138950"/>
                </a:cubicBezTo>
                <a:cubicBezTo>
                  <a:pt x="4728680" y="6137773"/>
                  <a:pt x="4731973" y="6135707"/>
                  <a:pt x="4734606" y="6132752"/>
                </a:cubicBezTo>
                <a:cubicBezTo>
                  <a:pt x="4737239" y="6129798"/>
                  <a:pt x="4738606" y="6125677"/>
                  <a:pt x="4738707" y="6120390"/>
                </a:cubicBezTo>
                <a:cubicBezTo>
                  <a:pt x="4738518" y="6114659"/>
                  <a:pt x="4736622" y="6110314"/>
                  <a:pt x="4733019" y="6107353"/>
                </a:cubicBezTo>
                <a:cubicBezTo>
                  <a:pt x="4729416" y="6104393"/>
                  <a:pt x="4725245" y="6101986"/>
                  <a:pt x="4720505" y="6100132"/>
                </a:cubicBezTo>
                <a:cubicBezTo>
                  <a:pt x="4715765" y="6098278"/>
                  <a:pt x="4711594" y="6096146"/>
                  <a:pt x="4707991" y="6093736"/>
                </a:cubicBezTo>
                <a:cubicBezTo>
                  <a:pt x="4704388" y="6091325"/>
                  <a:pt x="4702492" y="6087805"/>
                  <a:pt x="4702303" y="6083175"/>
                </a:cubicBezTo>
                <a:cubicBezTo>
                  <a:pt x="4702319" y="6079688"/>
                  <a:pt x="4703587" y="6076792"/>
                  <a:pt x="4706105" y="6074489"/>
                </a:cubicBezTo>
                <a:cubicBezTo>
                  <a:pt x="4708624" y="6072185"/>
                  <a:pt x="4712293" y="6070990"/>
                  <a:pt x="4717113" y="6070904"/>
                </a:cubicBezTo>
                <a:cubicBezTo>
                  <a:pt x="4721194" y="6070973"/>
                  <a:pt x="4724574" y="6071334"/>
                  <a:pt x="4727253" y="6071988"/>
                </a:cubicBezTo>
                <a:cubicBezTo>
                  <a:pt x="4729932" y="6072641"/>
                  <a:pt x="4731844" y="6073169"/>
                  <a:pt x="4732987" y="6073572"/>
                </a:cubicBezTo>
                <a:lnTo>
                  <a:pt x="4734450" y="6067313"/>
                </a:lnTo>
                <a:cubicBezTo>
                  <a:pt x="4733641" y="6067022"/>
                  <a:pt x="4731797" y="6066506"/>
                  <a:pt x="4728919" y="6065766"/>
                </a:cubicBezTo>
                <a:cubicBezTo>
                  <a:pt x="4726040" y="6065027"/>
                  <a:pt x="4722594" y="6064611"/>
                  <a:pt x="4718581" y="6064520"/>
                </a:cubicBezTo>
                <a:close/>
                <a:moveTo>
                  <a:pt x="4612283" y="6064520"/>
                </a:moveTo>
                <a:cubicBezTo>
                  <a:pt x="4606163" y="6064509"/>
                  <a:pt x="4600618" y="6065892"/>
                  <a:pt x="4595647" y="6068670"/>
                </a:cubicBezTo>
                <a:cubicBezTo>
                  <a:pt x="4590676" y="6071447"/>
                  <a:pt x="4586714" y="6075685"/>
                  <a:pt x="4583759" y="6081382"/>
                </a:cubicBezTo>
                <a:cubicBezTo>
                  <a:pt x="4580804" y="6087079"/>
                  <a:pt x="4579290" y="6094302"/>
                  <a:pt x="4579218" y="6103050"/>
                </a:cubicBezTo>
                <a:cubicBezTo>
                  <a:pt x="4579327" y="6113711"/>
                  <a:pt x="4580901" y="6121727"/>
                  <a:pt x="4583942" y="6127097"/>
                </a:cubicBezTo>
                <a:cubicBezTo>
                  <a:pt x="4586982" y="6132466"/>
                  <a:pt x="4590838" y="6136035"/>
                  <a:pt x="4595509" y="6137804"/>
                </a:cubicBezTo>
                <a:cubicBezTo>
                  <a:pt x="4600180" y="6139573"/>
                  <a:pt x="4605015" y="6140387"/>
                  <a:pt x="4610015" y="6140246"/>
                </a:cubicBezTo>
                <a:cubicBezTo>
                  <a:pt x="4613970" y="6140224"/>
                  <a:pt x="4617366" y="6139603"/>
                  <a:pt x="4620204" y="6138383"/>
                </a:cubicBezTo>
                <a:cubicBezTo>
                  <a:pt x="4623041" y="6137164"/>
                  <a:pt x="4625604" y="6135479"/>
                  <a:pt x="4627891" y="6133328"/>
                </a:cubicBezTo>
                <a:lnTo>
                  <a:pt x="4627891" y="6142514"/>
                </a:lnTo>
                <a:cubicBezTo>
                  <a:pt x="4627845" y="6148440"/>
                  <a:pt x="4626810" y="6152884"/>
                  <a:pt x="4624788" y="6155849"/>
                </a:cubicBezTo>
                <a:cubicBezTo>
                  <a:pt x="4622766" y="6158814"/>
                  <a:pt x="4620032" y="6160778"/>
                  <a:pt x="4616586" y="6161741"/>
                </a:cubicBezTo>
                <a:cubicBezTo>
                  <a:pt x="4613141" y="6162704"/>
                  <a:pt x="4609261" y="6163145"/>
                  <a:pt x="4604946" y="6163065"/>
                </a:cubicBezTo>
                <a:cubicBezTo>
                  <a:pt x="4602902" y="6163041"/>
                  <a:pt x="4600571" y="6162853"/>
                  <a:pt x="4597954" y="6162502"/>
                </a:cubicBezTo>
                <a:cubicBezTo>
                  <a:pt x="4595337" y="6162151"/>
                  <a:pt x="4592957" y="6161785"/>
                  <a:pt x="4590815" y="6161405"/>
                </a:cubicBezTo>
                <a:cubicBezTo>
                  <a:pt x="4588672" y="6161024"/>
                  <a:pt x="4587290" y="6160777"/>
                  <a:pt x="4586669" y="6160663"/>
                </a:cubicBezTo>
                <a:lnTo>
                  <a:pt x="4585205" y="6167588"/>
                </a:lnTo>
                <a:cubicBezTo>
                  <a:pt x="4586265" y="6167857"/>
                  <a:pt x="4588810" y="6168284"/>
                  <a:pt x="4592840" y="6168868"/>
                </a:cubicBezTo>
                <a:cubicBezTo>
                  <a:pt x="4596869" y="6169453"/>
                  <a:pt x="4601616" y="6169780"/>
                  <a:pt x="4607080" y="6169849"/>
                </a:cubicBezTo>
                <a:cubicBezTo>
                  <a:pt x="4616009" y="6169864"/>
                  <a:pt x="4622893" y="6167805"/>
                  <a:pt x="4627731" y="6163672"/>
                </a:cubicBezTo>
                <a:cubicBezTo>
                  <a:pt x="4632570" y="6159538"/>
                  <a:pt x="4635018" y="6153242"/>
                  <a:pt x="4635075" y="6144783"/>
                </a:cubicBezTo>
                <a:lnTo>
                  <a:pt x="4635075" y="6067047"/>
                </a:lnTo>
                <a:cubicBezTo>
                  <a:pt x="4631899" y="6066418"/>
                  <a:pt x="4628435" y="6065847"/>
                  <a:pt x="4624686" y="6065334"/>
                </a:cubicBezTo>
                <a:cubicBezTo>
                  <a:pt x="4620937" y="6064822"/>
                  <a:pt x="4616802" y="6064550"/>
                  <a:pt x="4612283" y="6064520"/>
                </a:cubicBezTo>
                <a:close/>
                <a:moveTo>
                  <a:pt x="4534881" y="6064520"/>
                </a:moveTo>
                <a:cubicBezTo>
                  <a:pt x="4525488" y="6064555"/>
                  <a:pt x="4517832" y="6067881"/>
                  <a:pt x="4511913" y="6074498"/>
                </a:cubicBezTo>
                <a:cubicBezTo>
                  <a:pt x="4505994" y="6081114"/>
                  <a:pt x="4502940" y="6090810"/>
                  <a:pt x="4502752" y="6103583"/>
                </a:cubicBezTo>
                <a:cubicBezTo>
                  <a:pt x="4502856" y="6115695"/>
                  <a:pt x="4505677" y="6124912"/>
                  <a:pt x="4511213" y="6131235"/>
                </a:cubicBezTo>
                <a:cubicBezTo>
                  <a:pt x="4516749" y="6137557"/>
                  <a:pt x="4524371" y="6140738"/>
                  <a:pt x="4534081" y="6140779"/>
                </a:cubicBezTo>
                <a:cubicBezTo>
                  <a:pt x="4543340" y="6140805"/>
                  <a:pt x="4550895" y="6137690"/>
                  <a:pt x="4556748" y="6131435"/>
                </a:cubicBezTo>
                <a:cubicBezTo>
                  <a:pt x="4562601" y="6125179"/>
                  <a:pt x="4565621" y="6115629"/>
                  <a:pt x="4565809" y="6102783"/>
                </a:cubicBezTo>
                <a:cubicBezTo>
                  <a:pt x="4565813" y="6090393"/>
                  <a:pt x="4563243" y="6080931"/>
                  <a:pt x="4558099" y="6074398"/>
                </a:cubicBezTo>
                <a:cubicBezTo>
                  <a:pt x="4552955" y="6067864"/>
                  <a:pt x="4545216" y="6064572"/>
                  <a:pt x="4534881" y="6064520"/>
                </a:cubicBezTo>
                <a:close/>
                <a:moveTo>
                  <a:pt x="4459883" y="6064520"/>
                </a:moveTo>
                <a:cubicBezTo>
                  <a:pt x="4453763" y="6064509"/>
                  <a:pt x="4448218" y="6065892"/>
                  <a:pt x="4443247" y="6068670"/>
                </a:cubicBezTo>
                <a:cubicBezTo>
                  <a:pt x="4438276" y="6071447"/>
                  <a:pt x="4434314" y="6075685"/>
                  <a:pt x="4431359" y="6081382"/>
                </a:cubicBezTo>
                <a:cubicBezTo>
                  <a:pt x="4428404" y="6087079"/>
                  <a:pt x="4426891" y="6094302"/>
                  <a:pt x="4426818" y="6103050"/>
                </a:cubicBezTo>
                <a:cubicBezTo>
                  <a:pt x="4426927" y="6113711"/>
                  <a:pt x="4428501" y="6121727"/>
                  <a:pt x="4431542" y="6127097"/>
                </a:cubicBezTo>
                <a:cubicBezTo>
                  <a:pt x="4434582" y="6132466"/>
                  <a:pt x="4438438" y="6136035"/>
                  <a:pt x="4443109" y="6137804"/>
                </a:cubicBezTo>
                <a:cubicBezTo>
                  <a:pt x="4447780" y="6139573"/>
                  <a:pt x="4452615" y="6140387"/>
                  <a:pt x="4457615" y="6140246"/>
                </a:cubicBezTo>
                <a:cubicBezTo>
                  <a:pt x="4461570" y="6140224"/>
                  <a:pt x="4464966" y="6139603"/>
                  <a:pt x="4467804" y="6138383"/>
                </a:cubicBezTo>
                <a:cubicBezTo>
                  <a:pt x="4470641" y="6137164"/>
                  <a:pt x="4473204" y="6135479"/>
                  <a:pt x="4475491" y="6133328"/>
                </a:cubicBezTo>
                <a:lnTo>
                  <a:pt x="4475491" y="6142514"/>
                </a:lnTo>
                <a:cubicBezTo>
                  <a:pt x="4475445" y="6148440"/>
                  <a:pt x="4474410" y="6152884"/>
                  <a:pt x="4472388" y="6155849"/>
                </a:cubicBezTo>
                <a:cubicBezTo>
                  <a:pt x="4470366" y="6158814"/>
                  <a:pt x="4467632" y="6160778"/>
                  <a:pt x="4464186" y="6161741"/>
                </a:cubicBezTo>
                <a:cubicBezTo>
                  <a:pt x="4460741" y="6162704"/>
                  <a:pt x="4456861" y="6163145"/>
                  <a:pt x="4452546" y="6163065"/>
                </a:cubicBezTo>
                <a:cubicBezTo>
                  <a:pt x="4450502" y="6163041"/>
                  <a:pt x="4448171" y="6162853"/>
                  <a:pt x="4445554" y="6162502"/>
                </a:cubicBezTo>
                <a:cubicBezTo>
                  <a:pt x="4442937" y="6162151"/>
                  <a:pt x="4440557" y="6161785"/>
                  <a:pt x="4438415" y="6161405"/>
                </a:cubicBezTo>
                <a:cubicBezTo>
                  <a:pt x="4436272" y="6161024"/>
                  <a:pt x="4434890" y="6160777"/>
                  <a:pt x="4434269" y="6160663"/>
                </a:cubicBezTo>
                <a:lnTo>
                  <a:pt x="4432805" y="6167588"/>
                </a:lnTo>
                <a:cubicBezTo>
                  <a:pt x="4433865" y="6167857"/>
                  <a:pt x="4436410" y="6168284"/>
                  <a:pt x="4440440" y="6168868"/>
                </a:cubicBezTo>
                <a:cubicBezTo>
                  <a:pt x="4444469" y="6169453"/>
                  <a:pt x="4449216" y="6169780"/>
                  <a:pt x="4454680" y="6169849"/>
                </a:cubicBezTo>
                <a:cubicBezTo>
                  <a:pt x="4463609" y="6169864"/>
                  <a:pt x="4470493" y="6167805"/>
                  <a:pt x="4475331" y="6163672"/>
                </a:cubicBezTo>
                <a:cubicBezTo>
                  <a:pt x="4480170" y="6159538"/>
                  <a:pt x="4482618" y="6153242"/>
                  <a:pt x="4482675" y="6144783"/>
                </a:cubicBezTo>
                <a:lnTo>
                  <a:pt x="4482675" y="6067047"/>
                </a:lnTo>
                <a:cubicBezTo>
                  <a:pt x="4479499" y="6066418"/>
                  <a:pt x="4476036" y="6065847"/>
                  <a:pt x="4472286" y="6065334"/>
                </a:cubicBezTo>
                <a:cubicBezTo>
                  <a:pt x="4468537" y="6064822"/>
                  <a:pt x="4464402" y="6064550"/>
                  <a:pt x="4459883" y="6064520"/>
                </a:cubicBezTo>
                <a:close/>
                <a:moveTo>
                  <a:pt x="5015577" y="6044917"/>
                </a:moveTo>
                <a:lnTo>
                  <a:pt x="5015577" y="6139179"/>
                </a:lnTo>
                <a:lnTo>
                  <a:pt x="5023428" y="6139179"/>
                </a:lnTo>
                <a:lnTo>
                  <a:pt x="5023428" y="6095307"/>
                </a:lnTo>
                <a:lnTo>
                  <a:pt x="5078252" y="6095307"/>
                </a:lnTo>
                <a:lnTo>
                  <a:pt x="5078252" y="6139179"/>
                </a:lnTo>
                <a:lnTo>
                  <a:pt x="5086103" y="6139179"/>
                </a:lnTo>
                <a:lnTo>
                  <a:pt x="5086103" y="6044917"/>
                </a:lnTo>
                <a:lnTo>
                  <a:pt x="5078252" y="6044917"/>
                </a:lnTo>
                <a:lnTo>
                  <a:pt x="5078252" y="6088389"/>
                </a:lnTo>
                <a:lnTo>
                  <a:pt x="5023428" y="6088389"/>
                </a:lnTo>
                <a:lnTo>
                  <a:pt x="5023428" y="6044917"/>
                </a:lnTo>
                <a:close/>
                <a:moveTo>
                  <a:pt x="4129752" y="6044917"/>
                </a:moveTo>
                <a:lnTo>
                  <a:pt x="4129752" y="6139179"/>
                </a:lnTo>
                <a:lnTo>
                  <a:pt x="4137737" y="6139179"/>
                </a:lnTo>
                <a:lnTo>
                  <a:pt x="4137737" y="6051435"/>
                </a:lnTo>
                <a:lnTo>
                  <a:pt x="4156013" y="6051435"/>
                </a:lnTo>
                <a:cubicBezTo>
                  <a:pt x="4163820" y="6051382"/>
                  <a:pt x="4169684" y="6053155"/>
                  <a:pt x="4173606" y="6056754"/>
                </a:cubicBezTo>
                <a:cubicBezTo>
                  <a:pt x="4177527" y="6060353"/>
                  <a:pt x="4179489" y="6066095"/>
                  <a:pt x="4179492" y="6073979"/>
                </a:cubicBezTo>
                <a:cubicBezTo>
                  <a:pt x="4179314" y="6082144"/>
                  <a:pt x="4176735" y="6087925"/>
                  <a:pt x="4171755" y="6091321"/>
                </a:cubicBezTo>
                <a:cubicBezTo>
                  <a:pt x="4166774" y="6094717"/>
                  <a:pt x="4160460" y="6096362"/>
                  <a:pt x="4152811" y="6096257"/>
                </a:cubicBezTo>
                <a:lnTo>
                  <a:pt x="4148943" y="6096257"/>
                </a:lnTo>
                <a:lnTo>
                  <a:pt x="4148943" y="6103174"/>
                </a:lnTo>
                <a:lnTo>
                  <a:pt x="4152011" y="6103174"/>
                </a:lnTo>
                <a:cubicBezTo>
                  <a:pt x="4164536" y="6102964"/>
                  <a:pt x="4173665" y="6100055"/>
                  <a:pt x="4179399" y="6094446"/>
                </a:cubicBezTo>
                <a:cubicBezTo>
                  <a:pt x="4185132" y="6088838"/>
                  <a:pt x="4187958" y="6081793"/>
                  <a:pt x="4187876" y="6073312"/>
                </a:cubicBezTo>
                <a:cubicBezTo>
                  <a:pt x="4187813" y="6063958"/>
                  <a:pt x="4185276" y="6056891"/>
                  <a:pt x="4180266" y="6052111"/>
                </a:cubicBezTo>
                <a:cubicBezTo>
                  <a:pt x="4175255" y="6047331"/>
                  <a:pt x="4168149" y="6044933"/>
                  <a:pt x="4158948" y="6044917"/>
                </a:cubicBezTo>
                <a:close/>
                <a:moveTo>
                  <a:pt x="5612986" y="6038650"/>
                </a:moveTo>
                <a:lnTo>
                  <a:pt x="5612986" y="6139179"/>
                </a:lnTo>
                <a:lnTo>
                  <a:pt x="5620303" y="6139179"/>
                </a:lnTo>
                <a:lnTo>
                  <a:pt x="5620303" y="6038650"/>
                </a:lnTo>
                <a:close/>
                <a:moveTo>
                  <a:pt x="5460586" y="6038650"/>
                </a:moveTo>
                <a:lnTo>
                  <a:pt x="5460586" y="6139179"/>
                </a:lnTo>
                <a:lnTo>
                  <a:pt x="5467903" y="6139179"/>
                </a:lnTo>
                <a:lnTo>
                  <a:pt x="5467903" y="6081572"/>
                </a:lnTo>
                <a:cubicBezTo>
                  <a:pt x="5469005" y="6080815"/>
                  <a:pt x="5470907" y="6079632"/>
                  <a:pt x="5473610" y="6078021"/>
                </a:cubicBezTo>
                <a:cubicBezTo>
                  <a:pt x="5476313" y="6076410"/>
                  <a:pt x="5479341" y="6074910"/>
                  <a:pt x="5482696" y="6073521"/>
                </a:cubicBezTo>
                <a:cubicBezTo>
                  <a:pt x="5486051" y="6072133"/>
                  <a:pt x="5489258" y="6071393"/>
                  <a:pt x="5492316" y="6071304"/>
                </a:cubicBezTo>
                <a:cubicBezTo>
                  <a:pt x="5497224" y="6071337"/>
                  <a:pt x="5500867" y="6072308"/>
                  <a:pt x="5503246" y="6074218"/>
                </a:cubicBezTo>
                <a:cubicBezTo>
                  <a:pt x="5505624" y="6076127"/>
                  <a:pt x="5507172" y="6078778"/>
                  <a:pt x="5507890" y="6082169"/>
                </a:cubicBezTo>
                <a:cubicBezTo>
                  <a:pt x="5508608" y="6085561"/>
                  <a:pt x="5508931" y="6089495"/>
                  <a:pt x="5508858" y="6093973"/>
                </a:cubicBezTo>
                <a:lnTo>
                  <a:pt x="5508858" y="6139179"/>
                </a:lnTo>
                <a:lnTo>
                  <a:pt x="5515642" y="6139179"/>
                </a:lnTo>
                <a:lnTo>
                  <a:pt x="5515642" y="6091840"/>
                </a:lnTo>
                <a:cubicBezTo>
                  <a:pt x="5515760" y="6087936"/>
                  <a:pt x="5515421" y="6083907"/>
                  <a:pt x="5514626" y="6079754"/>
                </a:cubicBezTo>
                <a:cubicBezTo>
                  <a:pt x="5513830" y="6075600"/>
                  <a:pt x="5511873" y="6072077"/>
                  <a:pt x="5508752" y="6069183"/>
                </a:cubicBezTo>
                <a:cubicBezTo>
                  <a:pt x="5505631" y="6066289"/>
                  <a:pt x="5500642" y="6064779"/>
                  <a:pt x="5493784" y="6064653"/>
                </a:cubicBezTo>
                <a:cubicBezTo>
                  <a:pt x="5487953" y="6064847"/>
                  <a:pt x="5482839" y="6066089"/>
                  <a:pt x="5478442" y="6068379"/>
                </a:cubicBezTo>
                <a:cubicBezTo>
                  <a:pt x="5474045" y="6070668"/>
                  <a:pt x="5470532" y="6072844"/>
                  <a:pt x="5467903" y="6074904"/>
                </a:cubicBezTo>
                <a:lnTo>
                  <a:pt x="5467903" y="6038650"/>
                </a:lnTo>
                <a:close/>
                <a:moveTo>
                  <a:pt x="5260560" y="6038650"/>
                </a:moveTo>
                <a:lnTo>
                  <a:pt x="5260560" y="6139179"/>
                </a:lnTo>
                <a:lnTo>
                  <a:pt x="5267878" y="6139179"/>
                </a:lnTo>
                <a:lnTo>
                  <a:pt x="5267878" y="6081572"/>
                </a:lnTo>
                <a:cubicBezTo>
                  <a:pt x="5268980" y="6080815"/>
                  <a:pt x="5270882" y="6079632"/>
                  <a:pt x="5273585" y="6078021"/>
                </a:cubicBezTo>
                <a:cubicBezTo>
                  <a:pt x="5276288" y="6076410"/>
                  <a:pt x="5279316" y="6074910"/>
                  <a:pt x="5282671" y="6073521"/>
                </a:cubicBezTo>
                <a:cubicBezTo>
                  <a:pt x="5286026" y="6072133"/>
                  <a:pt x="5289233" y="6071393"/>
                  <a:pt x="5292291" y="6071304"/>
                </a:cubicBezTo>
                <a:cubicBezTo>
                  <a:pt x="5297199" y="6071337"/>
                  <a:pt x="5300842" y="6072308"/>
                  <a:pt x="5303221" y="6074218"/>
                </a:cubicBezTo>
                <a:cubicBezTo>
                  <a:pt x="5305599" y="6076127"/>
                  <a:pt x="5307147" y="6078778"/>
                  <a:pt x="5307865" y="6082169"/>
                </a:cubicBezTo>
                <a:cubicBezTo>
                  <a:pt x="5308583" y="6085561"/>
                  <a:pt x="5308906" y="6089495"/>
                  <a:pt x="5308833" y="6093973"/>
                </a:cubicBezTo>
                <a:lnTo>
                  <a:pt x="5308833" y="6139179"/>
                </a:lnTo>
                <a:lnTo>
                  <a:pt x="5315617" y="6139179"/>
                </a:lnTo>
                <a:lnTo>
                  <a:pt x="5315617" y="6091840"/>
                </a:lnTo>
                <a:cubicBezTo>
                  <a:pt x="5315735" y="6087936"/>
                  <a:pt x="5315396" y="6083907"/>
                  <a:pt x="5314601" y="6079754"/>
                </a:cubicBezTo>
                <a:cubicBezTo>
                  <a:pt x="5313805" y="6075600"/>
                  <a:pt x="5311848" y="6072077"/>
                  <a:pt x="5308727" y="6069183"/>
                </a:cubicBezTo>
                <a:cubicBezTo>
                  <a:pt x="5305606" y="6066289"/>
                  <a:pt x="5300617" y="6064779"/>
                  <a:pt x="5293759" y="6064653"/>
                </a:cubicBezTo>
                <a:cubicBezTo>
                  <a:pt x="5287928" y="6064847"/>
                  <a:pt x="5282814" y="6066089"/>
                  <a:pt x="5278417" y="6068379"/>
                </a:cubicBezTo>
                <a:cubicBezTo>
                  <a:pt x="5274020" y="6070668"/>
                  <a:pt x="5270507" y="6072844"/>
                  <a:pt x="5267878" y="6074904"/>
                </a:cubicBezTo>
                <a:lnTo>
                  <a:pt x="5267878" y="6038650"/>
                </a:lnTo>
                <a:close/>
                <a:moveTo>
                  <a:pt x="4822411" y="6038650"/>
                </a:moveTo>
                <a:lnTo>
                  <a:pt x="4822411" y="6139179"/>
                </a:lnTo>
                <a:lnTo>
                  <a:pt x="4829728" y="6139179"/>
                </a:lnTo>
                <a:lnTo>
                  <a:pt x="4829728" y="6081572"/>
                </a:lnTo>
                <a:cubicBezTo>
                  <a:pt x="4830830" y="6080815"/>
                  <a:pt x="4832732" y="6079632"/>
                  <a:pt x="4835435" y="6078021"/>
                </a:cubicBezTo>
                <a:cubicBezTo>
                  <a:pt x="4838138" y="6076410"/>
                  <a:pt x="4841166" y="6074910"/>
                  <a:pt x="4844521" y="6073521"/>
                </a:cubicBezTo>
                <a:cubicBezTo>
                  <a:pt x="4847876" y="6072133"/>
                  <a:pt x="4851083" y="6071393"/>
                  <a:pt x="4854141" y="6071304"/>
                </a:cubicBezTo>
                <a:cubicBezTo>
                  <a:pt x="4859049" y="6071337"/>
                  <a:pt x="4862692" y="6072308"/>
                  <a:pt x="4865070" y="6074218"/>
                </a:cubicBezTo>
                <a:cubicBezTo>
                  <a:pt x="4867449" y="6076127"/>
                  <a:pt x="4868997" y="6078778"/>
                  <a:pt x="4869715" y="6082169"/>
                </a:cubicBezTo>
                <a:cubicBezTo>
                  <a:pt x="4870433" y="6085561"/>
                  <a:pt x="4870756" y="6089495"/>
                  <a:pt x="4870683" y="6093973"/>
                </a:cubicBezTo>
                <a:lnTo>
                  <a:pt x="4870683" y="6139179"/>
                </a:lnTo>
                <a:lnTo>
                  <a:pt x="4877467" y="6139179"/>
                </a:lnTo>
                <a:lnTo>
                  <a:pt x="4877467" y="6091840"/>
                </a:lnTo>
                <a:cubicBezTo>
                  <a:pt x="4877585" y="6087936"/>
                  <a:pt x="4877246" y="6083907"/>
                  <a:pt x="4876451" y="6079754"/>
                </a:cubicBezTo>
                <a:cubicBezTo>
                  <a:pt x="4875656" y="6075600"/>
                  <a:pt x="4873698" y="6072077"/>
                  <a:pt x="4870577" y="6069183"/>
                </a:cubicBezTo>
                <a:cubicBezTo>
                  <a:pt x="4867456" y="6066289"/>
                  <a:pt x="4862467" y="6064779"/>
                  <a:pt x="4855609" y="6064653"/>
                </a:cubicBezTo>
                <a:cubicBezTo>
                  <a:pt x="4849778" y="6064847"/>
                  <a:pt x="4844664" y="6066089"/>
                  <a:pt x="4840267" y="6068379"/>
                </a:cubicBezTo>
                <a:cubicBezTo>
                  <a:pt x="4835870" y="6070668"/>
                  <a:pt x="4832357" y="6072844"/>
                  <a:pt x="4829728" y="6074904"/>
                </a:cubicBezTo>
                <a:lnTo>
                  <a:pt x="4829728" y="6038650"/>
                </a:lnTo>
                <a:close/>
                <a:moveTo>
                  <a:pt x="4323091" y="6038650"/>
                </a:moveTo>
                <a:lnTo>
                  <a:pt x="4323091" y="6066647"/>
                </a:lnTo>
                <a:cubicBezTo>
                  <a:pt x="4320334" y="6065744"/>
                  <a:pt x="4317910" y="6065157"/>
                  <a:pt x="4315820" y="6064885"/>
                </a:cubicBezTo>
                <a:cubicBezTo>
                  <a:pt x="4313730" y="6064614"/>
                  <a:pt x="4310907" y="6064492"/>
                  <a:pt x="4307349" y="6064520"/>
                </a:cubicBezTo>
                <a:cubicBezTo>
                  <a:pt x="4301270" y="6064526"/>
                  <a:pt x="4295733" y="6065993"/>
                  <a:pt x="4290738" y="6068921"/>
                </a:cubicBezTo>
                <a:cubicBezTo>
                  <a:pt x="4285744" y="6071848"/>
                  <a:pt x="4281750" y="6076199"/>
                  <a:pt x="4278756" y="6081971"/>
                </a:cubicBezTo>
                <a:cubicBezTo>
                  <a:pt x="4275763" y="6087744"/>
                  <a:pt x="4274228" y="6094900"/>
                  <a:pt x="4274152" y="6103441"/>
                </a:cubicBezTo>
                <a:cubicBezTo>
                  <a:pt x="4274283" y="6114104"/>
                  <a:pt x="4275915" y="6122110"/>
                  <a:pt x="4279048" y="6127459"/>
                </a:cubicBezTo>
                <a:cubicBezTo>
                  <a:pt x="4282180" y="6132809"/>
                  <a:pt x="4286025" y="6136357"/>
                  <a:pt x="4290580" y="6138105"/>
                </a:cubicBezTo>
                <a:cubicBezTo>
                  <a:pt x="4295136" y="6139853"/>
                  <a:pt x="4299614" y="6140655"/>
                  <a:pt x="4304014" y="6140512"/>
                </a:cubicBezTo>
                <a:cubicBezTo>
                  <a:pt x="4307861" y="6140413"/>
                  <a:pt x="4311440" y="6139481"/>
                  <a:pt x="4314753" y="6137719"/>
                </a:cubicBezTo>
                <a:cubicBezTo>
                  <a:pt x="4318066" y="6135956"/>
                  <a:pt x="4320845" y="6133958"/>
                  <a:pt x="4323091" y="6131727"/>
                </a:cubicBezTo>
                <a:lnTo>
                  <a:pt x="4323091" y="6139179"/>
                </a:lnTo>
                <a:lnTo>
                  <a:pt x="4330409" y="6139179"/>
                </a:lnTo>
                <a:lnTo>
                  <a:pt x="4330409" y="6038650"/>
                </a:lnTo>
                <a:close/>
                <a:moveTo>
                  <a:pt x="4238355" y="6037583"/>
                </a:moveTo>
                <a:lnTo>
                  <a:pt x="4232218" y="6043717"/>
                </a:lnTo>
                <a:lnTo>
                  <a:pt x="4238355" y="6049984"/>
                </a:lnTo>
                <a:lnTo>
                  <a:pt x="4244617" y="6043717"/>
                </a:lnTo>
                <a:close/>
                <a:moveTo>
                  <a:pt x="4211140" y="6037583"/>
                </a:moveTo>
                <a:lnTo>
                  <a:pt x="4205003" y="6043717"/>
                </a:lnTo>
                <a:lnTo>
                  <a:pt x="4211140" y="6049984"/>
                </a:lnTo>
                <a:lnTo>
                  <a:pt x="4217277" y="6043717"/>
                </a:lnTo>
                <a:close/>
                <a:moveTo>
                  <a:pt x="4663945" y="6036516"/>
                </a:moveTo>
                <a:lnTo>
                  <a:pt x="4656885" y="6043749"/>
                </a:lnTo>
                <a:lnTo>
                  <a:pt x="4663945" y="6051116"/>
                </a:lnTo>
                <a:lnTo>
                  <a:pt x="4671270" y="6043749"/>
                </a:lnTo>
                <a:close/>
                <a:moveTo>
                  <a:pt x="4000923" y="5778569"/>
                </a:moveTo>
                <a:lnTo>
                  <a:pt x="4000923" y="5896803"/>
                </a:lnTo>
                <a:lnTo>
                  <a:pt x="3874014" y="5896803"/>
                </a:lnTo>
                <a:lnTo>
                  <a:pt x="3874014" y="5920080"/>
                </a:lnTo>
                <a:lnTo>
                  <a:pt x="4000923" y="5920080"/>
                </a:lnTo>
                <a:lnTo>
                  <a:pt x="4000923" y="6040118"/>
                </a:lnTo>
                <a:lnTo>
                  <a:pt x="4028006" y="6040118"/>
                </a:lnTo>
                <a:lnTo>
                  <a:pt x="4028006" y="5778569"/>
                </a:lnTo>
                <a:close/>
                <a:moveTo>
                  <a:pt x="3812790" y="5778569"/>
                </a:moveTo>
                <a:lnTo>
                  <a:pt x="3812790" y="6040118"/>
                </a:lnTo>
                <a:lnTo>
                  <a:pt x="3839873" y="6040118"/>
                </a:lnTo>
                <a:lnTo>
                  <a:pt x="3839873" y="5778569"/>
                </a:lnTo>
                <a:close/>
                <a:moveTo>
                  <a:pt x="3573916" y="5778569"/>
                </a:moveTo>
                <a:lnTo>
                  <a:pt x="3573916" y="6040118"/>
                </a:lnTo>
                <a:lnTo>
                  <a:pt x="3601320" y="6040118"/>
                </a:lnTo>
                <a:lnTo>
                  <a:pt x="3601320" y="5802083"/>
                </a:lnTo>
                <a:lnTo>
                  <a:pt x="3659191" y="5802083"/>
                </a:lnTo>
                <a:lnTo>
                  <a:pt x="3668540" y="5802566"/>
                </a:lnTo>
                <a:lnTo>
                  <a:pt x="3676923" y="5803693"/>
                </a:lnTo>
                <a:lnTo>
                  <a:pt x="3684821" y="5805465"/>
                </a:lnTo>
                <a:lnTo>
                  <a:pt x="3691914" y="5808042"/>
                </a:lnTo>
                <a:lnTo>
                  <a:pt x="3698040" y="5811424"/>
                </a:lnTo>
                <a:lnTo>
                  <a:pt x="3703682" y="5815611"/>
                </a:lnTo>
                <a:lnTo>
                  <a:pt x="3708357" y="5820443"/>
                </a:lnTo>
                <a:lnTo>
                  <a:pt x="3712387" y="5826080"/>
                </a:lnTo>
                <a:lnTo>
                  <a:pt x="3715611" y="5832522"/>
                </a:lnTo>
                <a:lnTo>
                  <a:pt x="3718029" y="5839608"/>
                </a:lnTo>
                <a:lnTo>
                  <a:pt x="3720124" y="5847339"/>
                </a:lnTo>
                <a:lnTo>
                  <a:pt x="3720930" y="5856035"/>
                </a:lnTo>
                <a:lnTo>
                  <a:pt x="3721414" y="5865215"/>
                </a:lnTo>
                <a:lnTo>
                  <a:pt x="3720930" y="5874073"/>
                </a:lnTo>
                <a:lnTo>
                  <a:pt x="3719641" y="5882126"/>
                </a:lnTo>
                <a:lnTo>
                  <a:pt x="3717384" y="5889373"/>
                </a:lnTo>
                <a:lnTo>
                  <a:pt x="3714321" y="5896137"/>
                </a:lnTo>
                <a:lnTo>
                  <a:pt x="3710775" y="5902096"/>
                </a:lnTo>
                <a:lnTo>
                  <a:pt x="3706100" y="5907411"/>
                </a:lnTo>
                <a:lnTo>
                  <a:pt x="3700941" y="5912243"/>
                </a:lnTo>
                <a:lnTo>
                  <a:pt x="3695461" y="5916269"/>
                </a:lnTo>
                <a:lnTo>
                  <a:pt x="3689013" y="5919812"/>
                </a:lnTo>
                <a:lnTo>
                  <a:pt x="3682081" y="5922550"/>
                </a:lnTo>
                <a:lnTo>
                  <a:pt x="3674827" y="5924805"/>
                </a:lnTo>
                <a:lnTo>
                  <a:pt x="3667251" y="5926254"/>
                </a:lnTo>
                <a:lnTo>
                  <a:pt x="3659030" y="5927221"/>
                </a:lnTo>
                <a:lnTo>
                  <a:pt x="3650486" y="5927704"/>
                </a:lnTo>
                <a:lnTo>
                  <a:pt x="3641942" y="5927704"/>
                </a:lnTo>
                <a:lnTo>
                  <a:pt x="3641942" y="5952023"/>
                </a:lnTo>
                <a:lnTo>
                  <a:pt x="3648068" y="5952023"/>
                </a:lnTo>
                <a:lnTo>
                  <a:pt x="3660319" y="5951701"/>
                </a:lnTo>
                <a:lnTo>
                  <a:pt x="3671603" y="5950251"/>
                </a:lnTo>
                <a:lnTo>
                  <a:pt x="3682081" y="5948318"/>
                </a:lnTo>
                <a:lnTo>
                  <a:pt x="3691914" y="5945419"/>
                </a:lnTo>
                <a:lnTo>
                  <a:pt x="3700941" y="5941876"/>
                </a:lnTo>
                <a:lnTo>
                  <a:pt x="3709001" y="5937850"/>
                </a:lnTo>
                <a:lnTo>
                  <a:pt x="3716578" y="5933018"/>
                </a:lnTo>
                <a:lnTo>
                  <a:pt x="3723187" y="5927865"/>
                </a:lnTo>
                <a:lnTo>
                  <a:pt x="3728990" y="5921906"/>
                </a:lnTo>
                <a:lnTo>
                  <a:pt x="3734149" y="5915625"/>
                </a:lnTo>
                <a:lnTo>
                  <a:pt x="3738501" y="5909022"/>
                </a:lnTo>
                <a:lnTo>
                  <a:pt x="3742370" y="5902096"/>
                </a:lnTo>
                <a:lnTo>
                  <a:pt x="3745433" y="5894688"/>
                </a:lnTo>
                <a:lnTo>
                  <a:pt x="3747689" y="5887119"/>
                </a:lnTo>
                <a:lnTo>
                  <a:pt x="3749463" y="5879388"/>
                </a:lnTo>
                <a:lnTo>
                  <a:pt x="3750269" y="5871335"/>
                </a:lnTo>
                <a:lnTo>
                  <a:pt x="3750752" y="5863444"/>
                </a:lnTo>
                <a:lnTo>
                  <a:pt x="3750107" y="5852492"/>
                </a:lnTo>
                <a:lnTo>
                  <a:pt x="3748818" y="5842346"/>
                </a:lnTo>
                <a:lnTo>
                  <a:pt x="3746239" y="5832522"/>
                </a:lnTo>
                <a:lnTo>
                  <a:pt x="3743176" y="5823664"/>
                </a:lnTo>
                <a:lnTo>
                  <a:pt x="3738985" y="5815450"/>
                </a:lnTo>
                <a:lnTo>
                  <a:pt x="3734149" y="5808042"/>
                </a:lnTo>
                <a:lnTo>
                  <a:pt x="3728345" y="5801439"/>
                </a:lnTo>
                <a:lnTo>
                  <a:pt x="3721897" y="5795319"/>
                </a:lnTo>
                <a:lnTo>
                  <a:pt x="3714482" y="5790487"/>
                </a:lnTo>
                <a:lnTo>
                  <a:pt x="3706583" y="5786300"/>
                </a:lnTo>
                <a:lnTo>
                  <a:pt x="3697717" y="5782918"/>
                </a:lnTo>
                <a:lnTo>
                  <a:pt x="3688045" y="5780502"/>
                </a:lnTo>
                <a:lnTo>
                  <a:pt x="3678051" y="5778891"/>
                </a:lnTo>
                <a:lnTo>
                  <a:pt x="3667251" y="5778569"/>
                </a:lnTo>
                <a:close/>
                <a:moveTo>
                  <a:pt x="4202344" y="5718657"/>
                </a:moveTo>
                <a:lnTo>
                  <a:pt x="4190265" y="5719301"/>
                </a:lnTo>
                <a:lnTo>
                  <a:pt x="4178830" y="5721395"/>
                </a:lnTo>
                <a:lnTo>
                  <a:pt x="4167717" y="5724777"/>
                </a:lnTo>
                <a:lnTo>
                  <a:pt x="4156927" y="5729126"/>
                </a:lnTo>
                <a:lnTo>
                  <a:pt x="4147264" y="5734762"/>
                </a:lnTo>
                <a:lnTo>
                  <a:pt x="4137923" y="5741366"/>
                </a:lnTo>
                <a:lnTo>
                  <a:pt x="4129709" y="5748935"/>
                </a:lnTo>
                <a:lnTo>
                  <a:pt x="4122139" y="5757310"/>
                </a:lnTo>
                <a:lnTo>
                  <a:pt x="4115536" y="5766490"/>
                </a:lnTo>
                <a:lnTo>
                  <a:pt x="4109899" y="5776475"/>
                </a:lnTo>
                <a:lnTo>
                  <a:pt x="4105551" y="5786943"/>
                </a:lnTo>
                <a:lnTo>
                  <a:pt x="4102169" y="5798056"/>
                </a:lnTo>
                <a:lnTo>
                  <a:pt x="4100236" y="5809652"/>
                </a:lnTo>
                <a:lnTo>
                  <a:pt x="4099592" y="5821570"/>
                </a:lnTo>
                <a:lnTo>
                  <a:pt x="4100236" y="5833649"/>
                </a:lnTo>
                <a:lnTo>
                  <a:pt x="4102169" y="5845244"/>
                </a:lnTo>
                <a:lnTo>
                  <a:pt x="4105551" y="5856357"/>
                </a:lnTo>
                <a:lnTo>
                  <a:pt x="4109899" y="5866987"/>
                </a:lnTo>
                <a:lnTo>
                  <a:pt x="4115536" y="5876811"/>
                </a:lnTo>
                <a:lnTo>
                  <a:pt x="4122139" y="5886152"/>
                </a:lnTo>
                <a:lnTo>
                  <a:pt x="4129709" y="5894365"/>
                </a:lnTo>
                <a:lnTo>
                  <a:pt x="4137923" y="5901935"/>
                </a:lnTo>
                <a:lnTo>
                  <a:pt x="4147264" y="5908538"/>
                </a:lnTo>
                <a:lnTo>
                  <a:pt x="4156927" y="5914014"/>
                </a:lnTo>
                <a:lnTo>
                  <a:pt x="4167717" y="5918523"/>
                </a:lnTo>
                <a:lnTo>
                  <a:pt x="4178830" y="5921905"/>
                </a:lnTo>
                <a:lnTo>
                  <a:pt x="4190265" y="5923838"/>
                </a:lnTo>
                <a:lnTo>
                  <a:pt x="4202344" y="5924482"/>
                </a:lnTo>
                <a:lnTo>
                  <a:pt x="4214262" y="5923838"/>
                </a:lnTo>
                <a:lnTo>
                  <a:pt x="4225857" y="5921905"/>
                </a:lnTo>
                <a:lnTo>
                  <a:pt x="4236970" y="5918523"/>
                </a:lnTo>
                <a:lnTo>
                  <a:pt x="4247277" y="5914014"/>
                </a:lnTo>
                <a:lnTo>
                  <a:pt x="4257263" y="5908538"/>
                </a:lnTo>
                <a:lnTo>
                  <a:pt x="4266443" y="5901935"/>
                </a:lnTo>
                <a:lnTo>
                  <a:pt x="4274817" y="5894365"/>
                </a:lnTo>
                <a:lnTo>
                  <a:pt x="4282387" y="5886152"/>
                </a:lnTo>
                <a:lnTo>
                  <a:pt x="4289151" y="5876811"/>
                </a:lnTo>
                <a:lnTo>
                  <a:pt x="4294627" y="5866987"/>
                </a:lnTo>
                <a:lnTo>
                  <a:pt x="4299136" y="5856357"/>
                </a:lnTo>
                <a:lnTo>
                  <a:pt x="4302357" y="5845244"/>
                </a:lnTo>
                <a:lnTo>
                  <a:pt x="4304451" y="5833649"/>
                </a:lnTo>
                <a:lnTo>
                  <a:pt x="4305095" y="5821570"/>
                </a:lnTo>
                <a:lnTo>
                  <a:pt x="4304451" y="5809652"/>
                </a:lnTo>
                <a:lnTo>
                  <a:pt x="4302357" y="5798056"/>
                </a:lnTo>
                <a:lnTo>
                  <a:pt x="4299136" y="5786943"/>
                </a:lnTo>
                <a:lnTo>
                  <a:pt x="4294627" y="5776475"/>
                </a:lnTo>
                <a:lnTo>
                  <a:pt x="4289151" y="5766490"/>
                </a:lnTo>
                <a:lnTo>
                  <a:pt x="4282387" y="5757310"/>
                </a:lnTo>
                <a:lnTo>
                  <a:pt x="4274817" y="5748935"/>
                </a:lnTo>
                <a:lnTo>
                  <a:pt x="4266443" y="5741366"/>
                </a:lnTo>
                <a:lnTo>
                  <a:pt x="4257263" y="5734762"/>
                </a:lnTo>
                <a:lnTo>
                  <a:pt x="4247277" y="5729126"/>
                </a:lnTo>
                <a:lnTo>
                  <a:pt x="4236970" y="5724777"/>
                </a:lnTo>
                <a:lnTo>
                  <a:pt x="4225857" y="5721395"/>
                </a:lnTo>
                <a:lnTo>
                  <a:pt x="4214262" y="5719301"/>
                </a:lnTo>
                <a:close/>
                <a:moveTo>
                  <a:pt x="2856777" y="5637609"/>
                </a:moveTo>
                <a:lnTo>
                  <a:pt x="2783919" y="5735040"/>
                </a:lnTo>
                <a:cubicBezTo>
                  <a:pt x="2582650" y="6032959"/>
                  <a:pt x="2451167" y="6381900"/>
                  <a:pt x="2412932" y="6758408"/>
                </a:cubicBezTo>
                <a:lnTo>
                  <a:pt x="2407902" y="6857999"/>
                </a:lnTo>
                <a:lnTo>
                  <a:pt x="0" y="6857999"/>
                </a:lnTo>
                <a:lnTo>
                  <a:pt x="0" y="5687182"/>
                </a:lnTo>
                <a:lnTo>
                  <a:pt x="153104" y="5722518"/>
                </a:lnTo>
                <a:cubicBezTo>
                  <a:pt x="533601" y="5800379"/>
                  <a:pt x="927566" y="5841268"/>
                  <a:pt x="1331083" y="5841268"/>
                </a:cubicBezTo>
                <a:cubicBezTo>
                  <a:pt x="1810258" y="5841268"/>
                  <a:pt x="2275965" y="5783608"/>
                  <a:pt x="2721645" y="5674847"/>
                </a:cubicBezTo>
                <a:close/>
                <a:moveTo>
                  <a:pt x="4707737" y="4764920"/>
                </a:moveTo>
                <a:lnTo>
                  <a:pt x="4868925" y="4773059"/>
                </a:lnTo>
                <a:cubicBezTo>
                  <a:pt x="5317887" y="4818654"/>
                  <a:pt x="5727405" y="4997676"/>
                  <a:pt x="6057200" y="5269847"/>
                </a:cubicBezTo>
                <a:lnTo>
                  <a:pt x="6092825" y="5302225"/>
                </a:lnTo>
                <a:lnTo>
                  <a:pt x="6092825" y="6857999"/>
                </a:lnTo>
                <a:lnTo>
                  <a:pt x="2422014" y="6857999"/>
                </a:lnTo>
                <a:lnTo>
                  <a:pt x="2426970" y="6759851"/>
                </a:lnTo>
                <a:cubicBezTo>
                  <a:pt x="2464966" y="6385715"/>
                  <a:pt x="2595620" y="6038972"/>
                  <a:pt x="2795621" y="5742930"/>
                </a:cubicBezTo>
                <a:lnTo>
                  <a:pt x="2878947" y="5631499"/>
                </a:lnTo>
                <a:lnTo>
                  <a:pt x="3052048" y="5583798"/>
                </a:lnTo>
                <a:cubicBezTo>
                  <a:pt x="3596119" y="5416422"/>
                  <a:pt x="4106335" y="5171764"/>
                  <a:pt x="4569884" y="4862637"/>
                </a:cubicBezTo>
                <a:close/>
                <a:moveTo>
                  <a:pt x="4641343" y="4761567"/>
                </a:moveTo>
                <a:lnTo>
                  <a:pt x="4682270" y="4763634"/>
                </a:lnTo>
                <a:lnTo>
                  <a:pt x="4561139" y="4849498"/>
                </a:lnTo>
                <a:cubicBezTo>
                  <a:pt x="4098842" y="5157790"/>
                  <a:pt x="3590003" y="5401787"/>
                  <a:pt x="3047401" y="5568711"/>
                </a:cubicBezTo>
                <a:lnTo>
                  <a:pt x="2894363" y="5610884"/>
                </a:lnTo>
                <a:lnTo>
                  <a:pt x="2923758" y="5571576"/>
                </a:lnTo>
                <a:cubicBezTo>
                  <a:pt x="3332014" y="5076883"/>
                  <a:pt x="3949856" y="4761567"/>
                  <a:pt x="4641343" y="4761567"/>
                </a:cubicBezTo>
                <a:close/>
                <a:moveTo>
                  <a:pt x="6092825" y="3383853"/>
                </a:moveTo>
                <a:lnTo>
                  <a:pt x="6092825" y="5283177"/>
                </a:lnTo>
                <a:lnTo>
                  <a:pt x="6066177" y="5258957"/>
                </a:lnTo>
                <a:cubicBezTo>
                  <a:pt x="5734291" y="4985061"/>
                  <a:pt x="5322177" y="4804904"/>
                  <a:pt x="4870368" y="4759020"/>
                </a:cubicBezTo>
                <a:lnTo>
                  <a:pt x="4726321" y="4751746"/>
                </a:lnTo>
                <a:lnTo>
                  <a:pt x="4842311" y="4669527"/>
                </a:lnTo>
                <a:cubicBezTo>
                  <a:pt x="5286681" y="4335124"/>
                  <a:pt x="5681820" y="3938814"/>
                  <a:pt x="6014918" y="3493409"/>
                </a:cubicBezTo>
                <a:close/>
                <a:moveTo>
                  <a:pt x="0" y="0"/>
                </a:moveTo>
                <a:lnTo>
                  <a:pt x="6092825" y="0"/>
                </a:lnTo>
                <a:lnTo>
                  <a:pt x="6092825" y="3356626"/>
                </a:lnTo>
                <a:lnTo>
                  <a:pt x="6002272" y="3483967"/>
                </a:lnTo>
                <a:cubicBezTo>
                  <a:pt x="5670073" y="3928169"/>
                  <a:pt x="5276000" y="4323409"/>
                  <a:pt x="4832830" y="4656909"/>
                </a:cubicBezTo>
                <a:lnTo>
                  <a:pt x="4700854" y="4750460"/>
                </a:lnTo>
                <a:lnTo>
                  <a:pt x="4641343" y="4747455"/>
                </a:lnTo>
                <a:cubicBezTo>
                  <a:pt x="3945472" y="4747455"/>
                  <a:pt x="3323713" y="5064770"/>
                  <a:pt x="2912868" y="5562599"/>
                </a:cubicBezTo>
                <a:lnTo>
                  <a:pt x="2872193" y="5616994"/>
                </a:lnTo>
                <a:lnTo>
                  <a:pt x="2717891" y="5659515"/>
                </a:lnTo>
                <a:cubicBezTo>
                  <a:pt x="2273413" y="5767982"/>
                  <a:pt x="1808964" y="5825486"/>
                  <a:pt x="1331083" y="5825486"/>
                </a:cubicBezTo>
                <a:cubicBezTo>
                  <a:pt x="928657" y="5825486"/>
                  <a:pt x="535755" y="5784707"/>
                  <a:pt x="156285" y="5707057"/>
                </a:cubicBezTo>
                <a:lnTo>
                  <a:pt x="0" y="5670986"/>
                </a:lnTo>
                <a:close/>
              </a:path>
            </a:pathLst>
          </a:custGeom>
          <a:solidFill>
            <a:schemeClr val="accent1"/>
          </a:solidFill>
        </p:spPr>
        <p:txBody>
          <a:bodyPr wrap="square" lIns="540000" rIns="540000" bIns="3420000" anchor="b" anchorCtr="0">
            <a:noAutofit/>
          </a:bodyPr>
          <a:lstStyle>
            <a:lvl1pPr algn="l">
              <a:defRPr sz="32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3" y="3486969"/>
            <a:ext cx="4717045" cy="1008112"/>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1" name="Bildplatzhalter 20"/>
          <p:cNvSpPr>
            <a:spLocks noGrp="1"/>
          </p:cNvSpPr>
          <p:nvPr>
            <p:ph type="pic" sz="quarter" idx="10"/>
          </p:nvPr>
        </p:nvSpPr>
        <p:spPr>
          <a:xfrm>
            <a:off x="6096000" y="0"/>
            <a:ext cx="6096000" cy="6858000"/>
          </a:xfrm>
          <a:custGeom>
            <a:avLst/>
            <a:gdLst>
              <a:gd name="connsiteX0" fmla="*/ 0 w 6096000"/>
              <a:gd name="connsiteY0" fmla="*/ 5305111 h 6858000"/>
              <a:gd name="connsiteX1" fmla="*/ 119269 w 6096000"/>
              <a:gd name="connsiteY1" fmla="*/ 5413509 h 6858000"/>
              <a:gd name="connsiteX2" fmla="*/ 759718 w 6096000"/>
              <a:gd name="connsiteY2" fmla="*/ 6759852 h 6858000"/>
              <a:gd name="connsiteX3" fmla="*/ 764674 w 6096000"/>
              <a:gd name="connsiteY3" fmla="*/ 6858000 h 6858000"/>
              <a:gd name="connsiteX4" fmla="*/ 0 w 6096000"/>
              <a:gd name="connsiteY4" fmla="*/ 6858000 h 6858000"/>
              <a:gd name="connsiteX5" fmla="*/ 1080026 w 6096000"/>
              <a:gd name="connsiteY5" fmla="*/ 0 h 6858000"/>
              <a:gd name="connsiteX6" fmla="*/ 6096000 w 6096000"/>
              <a:gd name="connsiteY6" fmla="*/ 0 h 6858000"/>
              <a:gd name="connsiteX7" fmla="*/ 6096000 w 6096000"/>
              <a:gd name="connsiteY7" fmla="*/ 6858000 h 6858000"/>
              <a:gd name="connsiteX8" fmla="*/ 778786 w 6096000"/>
              <a:gd name="connsiteY8" fmla="*/ 6858000 h 6858000"/>
              <a:gd name="connsiteX9" fmla="*/ 773757 w 6096000"/>
              <a:gd name="connsiteY9" fmla="*/ 6758409 h 6858000"/>
              <a:gd name="connsiteX10" fmla="*/ 129247 w 6096000"/>
              <a:gd name="connsiteY10" fmla="*/ 5403530 h 6858000"/>
              <a:gd name="connsiteX11" fmla="*/ 0 w 6096000"/>
              <a:gd name="connsiteY11" fmla="*/ 5286063 h 6858000"/>
              <a:gd name="connsiteX12" fmla="*/ 0 w 6096000"/>
              <a:gd name="connsiteY12" fmla="*/ 3379391 h 6858000"/>
              <a:gd name="connsiteX13" fmla="*/ 81880 w 6096000"/>
              <a:gd name="connsiteY13" fmla="*/ 3264247 h 6858000"/>
              <a:gd name="connsiteX14" fmla="*/ 1072516 w 6096000"/>
              <a:gd name="connsiteY14" fmla="*/ 297016 h 6858000"/>
              <a:gd name="connsiteX15" fmla="*/ 0 w 6096000"/>
              <a:gd name="connsiteY15" fmla="*/ 0 h 6858000"/>
              <a:gd name="connsiteX16" fmla="*/ 1064244 w 6096000"/>
              <a:gd name="connsiteY16" fmla="*/ 0 h 6858000"/>
              <a:gd name="connsiteX17" fmla="*/ 1056754 w 6096000"/>
              <a:gd name="connsiteY17" fmla="*/ 296204 h 6858000"/>
              <a:gd name="connsiteX18" fmla="*/ 68794 w 6096000"/>
              <a:gd name="connsiteY18" fmla="*/ 3255424 h 6858000"/>
              <a:gd name="connsiteX19" fmla="*/ 0 w 6096000"/>
              <a:gd name="connsiteY19" fmla="*/ 33521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58000">
                <a:moveTo>
                  <a:pt x="0" y="5305111"/>
                </a:moveTo>
                <a:lnTo>
                  <a:pt x="119269" y="5413509"/>
                </a:lnTo>
                <a:cubicBezTo>
                  <a:pt x="471721" y="5765961"/>
                  <a:pt x="706524" y="6236062"/>
                  <a:pt x="759718" y="6759852"/>
                </a:cubicBezTo>
                <a:lnTo>
                  <a:pt x="764674" y="6858000"/>
                </a:lnTo>
                <a:lnTo>
                  <a:pt x="0" y="6858000"/>
                </a:lnTo>
                <a:close/>
                <a:moveTo>
                  <a:pt x="1080026" y="0"/>
                </a:moveTo>
                <a:lnTo>
                  <a:pt x="6096000" y="0"/>
                </a:lnTo>
                <a:lnTo>
                  <a:pt x="6096000" y="6858000"/>
                </a:lnTo>
                <a:lnTo>
                  <a:pt x="778786" y="6858000"/>
                </a:lnTo>
                <a:lnTo>
                  <a:pt x="773757" y="6758409"/>
                </a:lnTo>
                <a:cubicBezTo>
                  <a:pt x="720226" y="6231298"/>
                  <a:pt x="483934" y="5758217"/>
                  <a:pt x="129247" y="5403530"/>
                </a:cubicBezTo>
                <a:lnTo>
                  <a:pt x="0" y="5286063"/>
                </a:lnTo>
                <a:lnTo>
                  <a:pt x="0" y="3379391"/>
                </a:lnTo>
                <a:lnTo>
                  <a:pt x="81880" y="3264247"/>
                </a:lnTo>
                <a:cubicBezTo>
                  <a:pt x="659598" y="2409113"/>
                  <a:pt x="1016966" y="1392879"/>
                  <a:pt x="1072516" y="297016"/>
                </a:cubicBezTo>
                <a:close/>
                <a:moveTo>
                  <a:pt x="0" y="0"/>
                </a:moveTo>
                <a:lnTo>
                  <a:pt x="1064244" y="0"/>
                </a:lnTo>
                <a:lnTo>
                  <a:pt x="1056754" y="296204"/>
                </a:lnTo>
                <a:cubicBezTo>
                  <a:pt x="1001355" y="1389108"/>
                  <a:pt x="644952" y="2402598"/>
                  <a:pt x="68794" y="3255424"/>
                </a:cubicBezTo>
                <a:lnTo>
                  <a:pt x="0" y="3352164"/>
                </a:lnTo>
                <a:close/>
              </a:path>
            </a:pathLst>
          </a:custGeom>
        </p:spPr>
        <p:txBody>
          <a:bodyPr wrap="square">
            <a:noAutofit/>
          </a:bodyPr>
          <a:lstStyle/>
          <a:p>
            <a:r>
              <a:rPr lang="de-DE" dirty="0"/>
              <a:t>Bild auf Platzhalter ziehen oder durch Klicken auf Symbol hinzufügen</a:t>
            </a:r>
            <a:endParaRPr lang="en-US" dirty="0"/>
          </a:p>
        </p:txBody>
      </p:sp>
      <p:sp>
        <p:nvSpPr>
          <p:cNvPr id="12" name="Freeform 9"/>
          <p:cNvSpPr>
            <a:spLocks/>
          </p:cNvSpPr>
          <p:nvPr userDrawn="1"/>
        </p:nvSpPr>
        <p:spPr bwMode="auto">
          <a:xfrm>
            <a:off x="4133092" y="5781469"/>
            <a:ext cx="58301" cy="8020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4203310" y="5781469"/>
            <a:ext cx="67964" cy="8020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4" name="Textplatzhalter 3">
            <a:extLst>
              <a:ext uri="{FF2B5EF4-FFF2-40B4-BE49-F238E27FC236}">
                <a16:creationId xmlns:a16="http://schemas.microsoft.com/office/drawing/2014/main" id="{08E49577-01CB-874F-937A-F04AEB2AB53A}"/>
              </a:ext>
            </a:extLst>
          </p:cNvPr>
          <p:cNvSpPr>
            <a:spLocks noGrp="1"/>
          </p:cNvSpPr>
          <p:nvPr>
            <p:ph type="body" sz="quarter" idx="11" hasCustomPrompt="1"/>
          </p:nvPr>
        </p:nvSpPr>
        <p:spPr>
          <a:xfrm rot="16200000">
            <a:off x="10509162" y="1533512"/>
            <a:ext cx="3019425" cy="152400"/>
          </a:xfrm>
        </p:spPr>
        <p:txBody>
          <a:bodyPr/>
          <a:lstStyle>
            <a:lvl1pPr marL="0" indent="0" algn="r">
              <a:buNone/>
              <a:defRPr sz="800" i="1">
                <a:solidFill>
                  <a:schemeClr val="bg1">
                    <a:lumMod val="75000"/>
                  </a:schemeClr>
                </a:solidFill>
              </a:defRPr>
            </a:lvl1pPr>
          </a:lstStyle>
          <a:p>
            <a:pPr lvl="0"/>
            <a:r>
              <a:rPr lang="de-DE" dirty="0"/>
              <a:t>Bildquelle</a:t>
            </a:r>
            <a:endParaRPr lang="de-CH" dirty="0"/>
          </a:p>
        </p:txBody>
      </p:sp>
      <p:sp>
        <p:nvSpPr>
          <p:cNvPr id="25" name="Abgerundetes Rechteck 24">
            <a:extLst>
              <a:ext uri="{FF2B5EF4-FFF2-40B4-BE49-F238E27FC236}">
                <a16:creationId xmlns:a16="http://schemas.microsoft.com/office/drawing/2014/main" id="{F2B38D25-25C7-EB4A-B07F-75BA845832AA}"/>
              </a:ext>
            </a:extLst>
          </p:cNvPr>
          <p:cNvSpPr/>
          <p:nvPr userDrawn="1"/>
        </p:nvSpPr>
        <p:spPr>
          <a:xfrm>
            <a:off x="9756071" y="6243331"/>
            <a:ext cx="1884032" cy="475589"/>
          </a:xfrm>
          <a:prstGeom prst="roundRect">
            <a:avLst/>
          </a:prstGeom>
          <a:solidFill>
            <a:schemeClr val="bg2"/>
          </a:solidFill>
          <a:ln>
            <a:solidFill>
              <a:srgbClr val="425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pic>
        <p:nvPicPr>
          <p:cNvPr id="26" name="Grafik 25" descr="Chevron Pfeile">
            <a:hlinkClick r:id="" action="ppaction://hlinkshowjump?jump=nextslide"/>
            <a:extLst>
              <a:ext uri="{FF2B5EF4-FFF2-40B4-BE49-F238E27FC236}">
                <a16:creationId xmlns:a16="http://schemas.microsoft.com/office/drawing/2014/main" id="{DB6AB71B-DFE1-0544-AEF0-219CA554566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165925" y="6281851"/>
            <a:ext cx="418658" cy="418658"/>
          </a:xfrm>
          <a:prstGeom prst="rect">
            <a:avLst/>
          </a:prstGeom>
        </p:spPr>
      </p:pic>
      <p:pic>
        <p:nvPicPr>
          <p:cNvPr id="27" name="Grafik 26" descr="Chevronpfeile RNL">
            <a:hlinkClick r:id="" action="ppaction://hlinkshowjump?jump=previousslide"/>
            <a:extLst>
              <a:ext uri="{FF2B5EF4-FFF2-40B4-BE49-F238E27FC236}">
                <a16:creationId xmlns:a16="http://schemas.microsoft.com/office/drawing/2014/main" id="{E0D0A884-7B1B-DA42-9C23-2B755BAC5311}"/>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823609" y="6281851"/>
            <a:ext cx="418658" cy="418658"/>
          </a:xfrm>
          <a:prstGeom prst="rect">
            <a:avLst/>
          </a:prstGeom>
        </p:spPr>
      </p:pic>
      <p:pic>
        <p:nvPicPr>
          <p:cNvPr id="28" name="Grafik 27" descr="Zuhause">
            <a:hlinkClick r:id="" action="ppaction://hlinkshowjump?jump=firstslide"/>
            <a:extLst>
              <a:ext uri="{FF2B5EF4-FFF2-40B4-BE49-F238E27FC236}">
                <a16:creationId xmlns:a16="http://schemas.microsoft.com/office/drawing/2014/main" id="{DA88FDDB-F7AF-614B-A480-906A7355F9DD}"/>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329292" y="6281851"/>
            <a:ext cx="367685" cy="367685"/>
          </a:xfrm>
          <a:prstGeom prst="rect">
            <a:avLst/>
          </a:prstGeom>
        </p:spPr>
      </p:pic>
      <p:sp>
        <p:nvSpPr>
          <p:cNvPr id="29" name="Textfeld 28">
            <a:hlinkClick r:id="rId12" action="ppaction://hlinksldjump"/>
            <a:extLst>
              <a:ext uri="{FF2B5EF4-FFF2-40B4-BE49-F238E27FC236}">
                <a16:creationId xmlns:a16="http://schemas.microsoft.com/office/drawing/2014/main" id="{FE1E407D-8E55-3346-8267-3D8575AAFF3F}"/>
              </a:ext>
            </a:extLst>
          </p:cNvPr>
          <p:cNvSpPr txBox="1"/>
          <p:nvPr userDrawn="1"/>
        </p:nvSpPr>
        <p:spPr>
          <a:xfrm>
            <a:off x="10784002" y="6322201"/>
            <a:ext cx="294897" cy="289345"/>
          </a:xfrm>
          <a:custGeom>
            <a:avLst/>
            <a:gdLst/>
            <a:ahLst/>
            <a:cxnLst/>
            <a:rect l="l" t="t" r="r" b="b"/>
            <a:pathLst>
              <a:path w="889852" h="889852">
                <a:moveTo>
                  <a:pt x="444926" y="0"/>
                </a:moveTo>
                <a:cubicBezTo>
                  <a:pt x="690652" y="0"/>
                  <a:pt x="889852" y="199200"/>
                  <a:pt x="889852" y="444926"/>
                </a:cubicBezTo>
                <a:cubicBezTo>
                  <a:pt x="889852" y="690652"/>
                  <a:pt x="690652" y="889852"/>
                  <a:pt x="444926" y="889852"/>
                </a:cubicBezTo>
                <a:cubicBezTo>
                  <a:pt x="199200" y="889852"/>
                  <a:pt x="0" y="690652"/>
                  <a:pt x="0" y="444926"/>
                </a:cubicBezTo>
                <a:cubicBezTo>
                  <a:pt x="0" y="199200"/>
                  <a:pt x="199200" y="0"/>
                  <a:pt x="444926" y="0"/>
                </a:cubicBezTo>
                <a:close/>
                <a:moveTo>
                  <a:pt x="382813" y="227974"/>
                </a:moveTo>
                <a:lnTo>
                  <a:pt x="382813" y="303983"/>
                </a:lnTo>
                <a:lnTo>
                  <a:pt x="494494" y="303983"/>
                </a:lnTo>
                <a:lnTo>
                  <a:pt x="494494" y="227974"/>
                </a:lnTo>
                <a:lnTo>
                  <a:pt x="382813" y="227974"/>
                </a:lnTo>
                <a:close/>
                <a:moveTo>
                  <a:pt x="382813" y="338832"/>
                </a:moveTo>
                <a:lnTo>
                  <a:pt x="382813" y="630247"/>
                </a:lnTo>
                <a:lnTo>
                  <a:pt x="494494" y="630247"/>
                </a:lnTo>
                <a:lnTo>
                  <a:pt x="494494" y="338832"/>
                </a:lnTo>
                <a:lnTo>
                  <a:pt x="382813" y="338832"/>
                </a:lnTo>
                <a:close/>
              </a:path>
            </a:pathLst>
          </a:custGeom>
          <a:solidFill>
            <a:srgbClr val="42586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CH" sz="3600" b="1" dirty="0">
              <a:solidFill>
                <a:schemeClr val="bg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2111087318"/>
      </p:ext>
    </p:extLst>
  </p:cSld>
  <p:clrMapOvr>
    <a:masterClrMapping/>
  </p:clrMapOvr>
  <p:extLst>
    <p:ext uri="{DCECCB84-F9BA-43D5-87BE-67443E8EF086}">
      <p15:sldGuideLst xmlns:p15="http://schemas.microsoft.com/office/powerpoint/2012/main">
        <p15:guide id="1" orient="horz" pos="2160">
          <p15:clr>
            <a:srgbClr val="FBAE40"/>
          </p15:clr>
        </p15:guide>
        <p15:guide id="0" pos="3840">
          <p15:clr>
            <a:srgbClr val="FBAE40"/>
          </p15:clr>
        </p15:guide>
        <p15:guide id="2" pos="7333">
          <p15:clr>
            <a:srgbClr val="FBAE40"/>
          </p15:clr>
        </p15:guide>
        <p15:guide id="3" pos="347">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Folie" r:id="rId4" imgW="344" imgH="344" progId="TCLayout.ActiveDocument.1">
                  <p:embed/>
                </p:oleObj>
              </mc:Choice>
              <mc:Fallback>
                <p:oleObj name="think-cell Folie" r:id="rId4" imgW="344" imgH="344"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Mastertitelformat bearbeiten</a:t>
            </a:r>
            <a:endParaRPr lang="en-US" dirty="0"/>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ußzeilenplatzhalt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778510893"/>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pos="347">
          <p15:clr>
            <a:srgbClr val="FBAE40"/>
          </p15:clr>
        </p15:guide>
        <p15:guide id="4" pos="7333">
          <p15:clr>
            <a:srgbClr val="FBAE40"/>
          </p15:clr>
        </p15:guide>
        <p15:guide id="5" orient="horz" pos="1253">
          <p15:clr>
            <a:srgbClr val="FBAE40"/>
          </p15:clr>
        </p15:guide>
        <p15:guide id="8" orient="horz" pos="386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 name="think-cell Folie" r:id="rId4" imgW="344" imgH="344" progId="TCLayout.ActiveDocument.1">
                  <p:embed/>
                </p:oleObj>
              </mc:Choice>
              <mc:Fallback>
                <p:oleObj name="think-cell Folie" r:id="rId4" imgW="344" imgH="344"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50863" y="1989137"/>
            <a:ext cx="5365750" cy="41402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Inhaltsplatzhalter 3"/>
          <p:cNvSpPr>
            <a:spLocks noGrp="1"/>
          </p:cNvSpPr>
          <p:nvPr>
            <p:ph sz="half" idx="2"/>
          </p:nvPr>
        </p:nvSpPr>
        <p:spPr>
          <a:xfrm>
            <a:off x="6275386" y="1989137"/>
            <a:ext cx="5365750" cy="414020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Fußzeilenplatzhalter 5"/>
          <p:cNvSpPr>
            <a:spLocks noGrp="1"/>
          </p:cNvSpPr>
          <p:nvPr>
            <p:ph type="ftr" sz="quarter" idx="11"/>
          </p:nvPr>
        </p:nvSpPr>
        <p:spPr/>
        <p:txBody>
          <a:bodyPr/>
          <a:lstStyle>
            <a:lvl1pPr>
              <a:defRPr sz="800"/>
            </a:lvl1pPr>
          </a:lstStyle>
          <a:p>
            <a:endParaRPr lang="en-US" dirty="0"/>
          </a:p>
        </p:txBody>
      </p:sp>
      <p:sp>
        <p:nvSpPr>
          <p:cNvPr id="8" name="Titel 7"/>
          <p:cNvSpPr>
            <a:spLocks noGrp="1"/>
          </p:cNvSpPr>
          <p:nvPr>
            <p:ph type="title"/>
          </p:nvPr>
        </p:nvSpPr>
        <p:spPr>
          <a:xfrm>
            <a:off x="550863" y="549276"/>
            <a:ext cx="9742763" cy="827088"/>
          </a:xfrm>
        </p:spPr>
        <p:txBody>
          <a:bodyPr/>
          <a:lstStyle/>
          <a:p>
            <a:r>
              <a:rPr lang="de-DE"/>
              <a:t>Mastertitelformat bearbeiten</a:t>
            </a:r>
            <a:endParaRPr lang="de-DE" dirty="0"/>
          </a:p>
        </p:txBody>
      </p:sp>
    </p:spTree>
    <p:extLst>
      <p:ext uri="{BB962C8B-B14F-4D97-AF65-F5344CB8AC3E}">
        <p14:creationId xmlns:p14="http://schemas.microsoft.com/office/powerpoint/2010/main" val="2954128127"/>
      </p:ext>
    </p:extLst>
  </p:cSld>
  <p:clrMapOvr>
    <a:masterClrMapping/>
  </p:clrMapOvr>
  <p:extLst>
    <p:ext uri="{DCECCB84-F9BA-43D5-87BE-67443E8EF086}">
      <p15:sldGuideLst xmlns:p15="http://schemas.microsoft.com/office/powerpoint/2012/main">
        <p15:guide id="1" orient="horz" pos="2568">
          <p15:clr>
            <a:srgbClr val="FBAE40"/>
          </p15:clr>
        </p15:guide>
        <p15:guide id="2" pos="7333">
          <p15:clr>
            <a:srgbClr val="FBAE40"/>
          </p15:clr>
        </p15:guide>
        <p15:guide id="3" orient="horz" pos="1253">
          <p15:clr>
            <a:srgbClr val="FBAE40"/>
          </p15:clr>
        </p15:guide>
        <p15:guide id="4" orient="horz" pos="3861">
          <p15:clr>
            <a:srgbClr val="FBAE40"/>
          </p15:clr>
        </p15:guide>
        <p15:guide id="7" pos="347">
          <p15:clr>
            <a:srgbClr val="FBAE40"/>
          </p15:clr>
        </p15:guide>
        <p15:guide id="8" pos="3953">
          <p15:clr>
            <a:srgbClr val="FBAE40"/>
          </p15:clr>
        </p15:guide>
        <p15:guide id="9" pos="372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Überschrif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Folie" r:id="rId4" imgW="344" imgH="344" progId="TCLayout.ActiveDocument.1">
                  <p:embed/>
                </p:oleObj>
              </mc:Choice>
              <mc:Fallback>
                <p:oleObj name="think-cell Folie" r:id="rId4" imgW="344" imgH="344"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cap="all" baseline="0"/>
            </a:lvl1pPr>
          </a:lstStyle>
          <a:p>
            <a:r>
              <a:rPr lang="de-DE" dirty="0"/>
              <a:t>Mastertitelformat bearbeiten</a:t>
            </a:r>
            <a:endParaRPr lang="en-US" dirty="0"/>
          </a:p>
        </p:txBody>
      </p:sp>
      <p:sp>
        <p:nvSpPr>
          <p:cNvPr id="4" name="Fußzeilenplatzhalt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248237744"/>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6" pos="347">
          <p15:clr>
            <a:srgbClr val="FBAE40"/>
          </p15:clr>
        </p15:guide>
        <p15:guide id="7" pos="7333">
          <p15:clr>
            <a:srgbClr val="FBAE40"/>
          </p15:clr>
        </p15:guide>
        <p15:guide id="8" orient="horz" pos="1253">
          <p15:clr>
            <a:srgbClr val="FBAE40"/>
          </p15:clr>
        </p15:guide>
        <p15:guide id="9" pos="3727">
          <p15:clr>
            <a:srgbClr val="FBAE40"/>
          </p15:clr>
        </p15:guide>
        <p15:guide id="10" pos="39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instiegsfilm">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Folie" r:id="rId4" imgW="344" imgH="344" progId="TCLayout.ActiveDocument.1">
                  <p:embed/>
                </p:oleObj>
              </mc:Choice>
              <mc:Fallback>
                <p:oleObj name="think-cell Folie" r:id="rId4" imgW="344" imgH="344"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hasCustomPrompt="1"/>
          </p:nvPr>
        </p:nvSpPr>
        <p:spPr>
          <a:xfrm>
            <a:off x="550863" y="549276"/>
            <a:ext cx="9865617" cy="408082"/>
          </a:xfrm>
        </p:spPr>
        <p:txBody>
          <a:bodyPr/>
          <a:lstStyle>
            <a:lvl1pPr>
              <a:defRPr cap="all" baseline="0"/>
            </a:lvl1pPr>
          </a:lstStyle>
          <a:p>
            <a:r>
              <a:rPr lang="de-DE" dirty="0"/>
              <a:t>EINSTIEGSFILM</a:t>
            </a:r>
            <a:endParaRPr lang="en-US" dirty="0"/>
          </a:p>
        </p:txBody>
      </p:sp>
      <p:sp>
        <p:nvSpPr>
          <p:cNvPr id="7" name="Textplatzhalter 3">
            <a:extLst>
              <a:ext uri="{FF2B5EF4-FFF2-40B4-BE49-F238E27FC236}">
                <a16:creationId xmlns:a16="http://schemas.microsoft.com/office/drawing/2014/main" id="{C1220849-B511-8346-9D64-C507DC6684EF}"/>
              </a:ext>
            </a:extLst>
          </p:cNvPr>
          <p:cNvSpPr>
            <a:spLocks noGrp="1"/>
          </p:cNvSpPr>
          <p:nvPr>
            <p:ph type="body" sz="quarter" idx="11" hasCustomPrompt="1"/>
          </p:nvPr>
        </p:nvSpPr>
        <p:spPr>
          <a:xfrm>
            <a:off x="550863" y="6408055"/>
            <a:ext cx="3019425" cy="152400"/>
          </a:xfrm>
        </p:spPr>
        <p:txBody>
          <a:bodyPr/>
          <a:lstStyle>
            <a:lvl1pPr marL="0" indent="0" algn="l">
              <a:buNone/>
              <a:defRPr sz="800" i="1"/>
            </a:lvl1pPr>
          </a:lstStyle>
          <a:p>
            <a:pPr lvl="0"/>
            <a:r>
              <a:rPr lang="de-DE" dirty="0"/>
              <a:t>Quelle des Films (</a:t>
            </a:r>
            <a:r>
              <a:rPr lang="de-DE" dirty="0" err="1"/>
              <a:t>Youtube</a:t>
            </a:r>
            <a:r>
              <a:rPr lang="de-DE" dirty="0"/>
              <a:t> Link)</a:t>
            </a:r>
            <a:endParaRPr lang="de-CH" dirty="0"/>
          </a:p>
        </p:txBody>
      </p:sp>
      <p:sp>
        <p:nvSpPr>
          <p:cNvPr id="9" name="Onlinebild-Platzhalter 8">
            <a:extLst>
              <a:ext uri="{FF2B5EF4-FFF2-40B4-BE49-F238E27FC236}">
                <a16:creationId xmlns:a16="http://schemas.microsoft.com/office/drawing/2014/main" id="{A38BD2DD-0FCB-CF44-9091-5B21AF5BAEE2}"/>
              </a:ext>
            </a:extLst>
          </p:cNvPr>
          <p:cNvSpPr>
            <a:spLocks noGrp="1"/>
          </p:cNvSpPr>
          <p:nvPr>
            <p:ph type="clipArt" sz="quarter" idx="13" hasCustomPrompt="1"/>
          </p:nvPr>
        </p:nvSpPr>
        <p:spPr>
          <a:xfrm>
            <a:off x="2582863" y="1651000"/>
            <a:ext cx="6396037" cy="3908425"/>
          </a:xfrm>
        </p:spPr>
        <p:txBody>
          <a:bodyPr/>
          <a:lstStyle>
            <a:lvl1pPr marL="0" indent="0">
              <a:buNone/>
              <a:defRPr i="1"/>
            </a:lvl1pPr>
          </a:lstStyle>
          <a:p>
            <a:r>
              <a:rPr lang="de-CH" dirty="0"/>
              <a:t>YOUTUBE FILM URL</a:t>
            </a:r>
          </a:p>
        </p:txBody>
      </p:sp>
    </p:spTree>
    <p:extLst>
      <p:ext uri="{BB962C8B-B14F-4D97-AF65-F5344CB8AC3E}">
        <p14:creationId xmlns:p14="http://schemas.microsoft.com/office/powerpoint/2010/main" val="3982179140"/>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6" pos="347">
          <p15:clr>
            <a:srgbClr val="FBAE40"/>
          </p15:clr>
        </p15:guide>
        <p15:guide id="7" pos="7333">
          <p15:clr>
            <a:srgbClr val="FBAE40"/>
          </p15:clr>
        </p15:guide>
        <p15:guide id="8" orient="horz" pos="1253">
          <p15:clr>
            <a:srgbClr val="FBAE40"/>
          </p15:clr>
        </p15:guide>
        <p15:guide id="9" pos="3727">
          <p15:clr>
            <a:srgbClr val="FBAE40"/>
          </p15:clr>
        </p15:guide>
        <p15:guide id="10" pos="39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_Hintergrun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Folie" r:id="rId4" imgW="344" imgH="344" progId="TCLayout.ActiveDocument.1">
                  <p:embed/>
                </p:oleObj>
              </mc:Choice>
              <mc:Fallback>
                <p:oleObj name="think-cell Folie" r:id="rId4" imgW="344" imgH="344" progId="TCLayout.ActiveDocument.1">
                  <p:embed/>
                  <p:pic>
                    <p:nvPicPr>
                      <p:cNvPr id="9" name="Objekt 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Mastertitelformat bearbeiten</a:t>
            </a:r>
            <a:endParaRPr lang="en-US"/>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ußzeilenplatzhalter 4"/>
          <p:cNvSpPr>
            <a:spLocks noGrp="1"/>
          </p:cNvSpPr>
          <p:nvPr>
            <p:ph type="ftr" sz="quarter" idx="11"/>
          </p:nvPr>
        </p:nvSpPr>
        <p:spPr/>
        <p:txBody>
          <a:bodyPr/>
          <a:lstStyle/>
          <a:p>
            <a:endParaRPr lang="en-US"/>
          </a:p>
        </p:txBody>
      </p:sp>
      <p:sp>
        <p:nvSpPr>
          <p:cNvPr id="7" name="Freihandform 6"/>
          <p:cNvSpPr/>
          <p:nvPr userDrawn="1"/>
        </p:nvSpPr>
        <p:spPr>
          <a:xfrm>
            <a:off x="7601676" y="4977172"/>
            <a:ext cx="4590324" cy="1885206"/>
          </a:xfrm>
          <a:custGeom>
            <a:avLst/>
            <a:gdLst>
              <a:gd name="connsiteX0" fmla="*/ 3030828 w 4590324"/>
              <a:gd name="connsiteY0" fmla="*/ 0 h 1885206"/>
              <a:gd name="connsiteX1" fmla="*/ 4348180 w 4590324"/>
              <a:gd name="connsiteY1" fmla="*/ 265961 h 1885206"/>
              <a:gd name="connsiteX2" fmla="*/ 4590324 w 4590324"/>
              <a:gd name="connsiteY2" fmla="*/ 382608 h 1885206"/>
              <a:gd name="connsiteX3" fmla="*/ 4590324 w 4590324"/>
              <a:gd name="connsiteY3" fmla="*/ 398221 h 1885206"/>
              <a:gd name="connsiteX4" fmla="*/ 4342700 w 4590324"/>
              <a:gd name="connsiteY4" fmla="*/ 278934 h 1885206"/>
              <a:gd name="connsiteX5" fmla="*/ 3030828 w 4590324"/>
              <a:gd name="connsiteY5" fmla="*/ 14079 h 1885206"/>
              <a:gd name="connsiteX6" fmla="*/ 67308 w 4590324"/>
              <a:gd name="connsiteY6" fmla="*/ 1777893 h 1885206"/>
              <a:gd name="connsiteX7" fmla="*/ 15612 w 4590324"/>
              <a:gd name="connsiteY7" fmla="*/ 1885206 h 1885206"/>
              <a:gd name="connsiteX8" fmla="*/ 0 w 4590324"/>
              <a:gd name="connsiteY8" fmla="*/ 1885206 h 1885206"/>
              <a:gd name="connsiteX9" fmla="*/ 54928 w 4590324"/>
              <a:gd name="connsiteY9" fmla="*/ 1771182 h 1885206"/>
              <a:gd name="connsiteX10" fmla="*/ 3030828 w 4590324"/>
              <a:gd name="connsiteY10" fmla="*/ 0 h 188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0324" h="1885206">
                <a:moveTo>
                  <a:pt x="3030828" y="0"/>
                </a:moveTo>
                <a:cubicBezTo>
                  <a:pt x="3498113" y="0"/>
                  <a:pt x="3943279" y="94703"/>
                  <a:pt x="4348180" y="265961"/>
                </a:cubicBezTo>
                <a:lnTo>
                  <a:pt x="4590324" y="382608"/>
                </a:lnTo>
                <a:lnTo>
                  <a:pt x="4590324" y="398221"/>
                </a:lnTo>
                <a:lnTo>
                  <a:pt x="4342700" y="278934"/>
                </a:lnTo>
                <a:cubicBezTo>
                  <a:pt x="3939483" y="108388"/>
                  <a:pt x="3496169" y="14079"/>
                  <a:pt x="3030828" y="14079"/>
                </a:cubicBezTo>
                <a:cubicBezTo>
                  <a:pt x="1751140" y="14079"/>
                  <a:pt x="638032" y="727286"/>
                  <a:pt x="67308" y="1777893"/>
                </a:cubicBezTo>
                <a:lnTo>
                  <a:pt x="15612" y="1885206"/>
                </a:lnTo>
                <a:lnTo>
                  <a:pt x="0" y="1885206"/>
                </a:lnTo>
                <a:lnTo>
                  <a:pt x="54928" y="1771182"/>
                </a:lnTo>
                <a:cubicBezTo>
                  <a:pt x="628036" y="716187"/>
                  <a:pt x="1745795" y="0"/>
                  <a:pt x="3030828" y="0"/>
                </a:cubicBezTo>
                <a:close/>
              </a:path>
            </a:pathLst>
          </a:custGeom>
          <a:gradFill>
            <a:gsLst>
              <a:gs pos="0">
                <a:schemeClr val="bg2"/>
              </a:gs>
              <a:gs pos="37000">
                <a:schemeClr val="accent1">
                  <a:lumMod val="45000"/>
                  <a:lumOff val="5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Freihandform 7"/>
          <p:cNvSpPr/>
          <p:nvPr userDrawn="1"/>
        </p:nvSpPr>
        <p:spPr>
          <a:xfrm>
            <a:off x="9442642" y="0"/>
            <a:ext cx="1513898" cy="6869504"/>
          </a:xfrm>
          <a:custGeom>
            <a:avLst/>
            <a:gdLst>
              <a:gd name="connsiteX0" fmla="*/ 0 w 1513898"/>
              <a:gd name="connsiteY0" fmla="*/ 0 h 6869504"/>
              <a:gd name="connsiteX1" fmla="*/ 19721 w 1513898"/>
              <a:gd name="connsiteY1" fmla="*/ 0 h 6869504"/>
              <a:gd name="connsiteX2" fmla="*/ 186244 w 1513898"/>
              <a:gd name="connsiteY2" fmla="*/ 174661 h 6869504"/>
              <a:gd name="connsiteX3" fmla="*/ 1513898 w 1513898"/>
              <a:gd name="connsiteY3" fmla="*/ 3610943 h 6869504"/>
              <a:gd name="connsiteX4" fmla="*/ 346875 w 1513898"/>
              <a:gd name="connsiteY4" fmla="*/ 6861789 h 6869504"/>
              <a:gd name="connsiteX5" fmla="*/ 340192 w 1513898"/>
              <a:gd name="connsiteY5" fmla="*/ 6869504 h 6869504"/>
              <a:gd name="connsiteX6" fmla="*/ 321940 w 1513898"/>
              <a:gd name="connsiteY6" fmla="*/ 6869504 h 6869504"/>
              <a:gd name="connsiteX7" fmla="*/ 336227 w 1513898"/>
              <a:gd name="connsiteY7" fmla="*/ 6853011 h 6869504"/>
              <a:gd name="connsiteX8" fmla="*/ 1500099 w 1513898"/>
              <a:gd name="connsiteY8" fmla="*/ 3610943 h 6869504"/>
              <a:gd name="connsiteX9" fmla="*/ 7267 w 1513898"/>
              <a:gd name="connsiteY9" fmla="*/ 6928 h 686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3898" h="6869504">
                <a:moveTo>
                  <a:pt x="0" y="0"/>
                </a:moveTo>
                <a:lnTo>
                  <a:pt x="19721" y="0"/>
                </a:lnTo>
                <a:lnTo>
                  <a:pt x="186244" y="174661"/>
                </a:lnTo>
                <a:cubicBezTo>
                  <a:pt x="1011138" y="1082246"/>
                  <a:pt x="1513898" y="2287881"/>
                  <a:pt x="1513898" y="3610943"/>
                </a:cubicBezTo>
                <a:cubicBezTo>
                  <a:pt x="1513898" y="4845801"/>
                  <a:pt x="1075939" y="5978368"/>
                  <a:pt x="346875" y="6861789"/>
                </a:cubicBezTo>
                <a:lnTo>
                  <a:pt x="340192" y="6869504"/>
                </a:lnTo>
                <a:lnTo>
                  <a:pt x="321940" y="6869504"/>
                </a:lnTo>
                <a:lnTo>
                  <a:pt x="336227" y="6853011"/>
                </a:lnTo>
                <a:cubicBezTo>
                  <a:pt x="1063322" y="5971976"/>
                  <a:pt x="1500099" y="4842467"/>
                  <a:pt x="1500099" y="3610943"/>
                </a:cubicBezTo>
                <a:cubicBezTo>
                  <a:pt x="1500099" y="2203488"/>
                  <a:pt x="929615" y="929276"/>
                  <a:pt x="7267" y="6928"/>
                </a:cubicBezTo>
                <a:close/>
              </a:path>
            </a:pathLst>
          </a:custGeom>
          <a:gradFill>
            <a:gsLst>
              <a:gs pos="0">
                <a:schemeClr val="bg2">
                  <a:lumMod val="90000"/>
                </a:schemeClr>
              </a:gs>
              <a:gs pos="53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1972477675"/>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4" orient="horz" pos="1253">
          <p15:clr>
            <a:srgbClr val="FBAE40"/>
          </p15:clr>
        </p15:guide>
        <p15:guide id="7" pos="347">
          <p15:clr>
            <a:srgbClr val="FBAE40"/>
          </p15:clr>
        </p15:guide>
        <p15:guide id="8" pos="733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Nur Titel+Voll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Folie" r:id="rId4" imgW="344" imgH="344" progId="TCLayout.ActiveDocument.1">
                  <p:embed/>
                </p:oleObj>
              </mc:Choice>
              <mc:Fallback>
                <p:oleObj name="think-cell Folie" r:id="rId4" imgW="344" imgH="344"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Bildplatzhalter 19"/>
          <p:cNvSpPr>
            <a:spLocks noGrp="1"/>
          </p:cNvSpPr>
          <p:nvPr>
            <p:ph type="pic" sz="quarter" idx="10"/>
          </p:nvPr>
        </p:nvSpPr>
        <p:spPr>
          <a:xfrm>
            <a:off x="0" y="0"/>
            <a:ext cx="12191999" cy="6857999"/>
          </a:xfrm>
          <a:custGeom>
            <a:avLst/>
            <a:gdLst>
              <a:gd name="connsiteX0" fmla="*/ 10878863 w 12191999"/>
              <a:gd name="connsiteY0" fmla="*/ 611650 h 6857999"/>
              <a:gd name="connsiteX1" fmla="*/ 10878863 w 12191999"/>
              <a:gd name="connsiteY1" fmla="*/ 883953 h 6857999"/>
              <a:gd name="connsiteX2" fmla="*/ 10907394 w 12191999"/>
              <a:gd name="connsiteY2" fmla="*/ 883953 h 6857999"/>
              <a:gd name="connsiteX3" fmla="*/ 10907394 w 12191999"/>
              <a:gd name="connsiteY3" fmla="*/ 636131 h 6857999"/>
              <a:gd name="connsiteX4" fmla="*/ 10967643 w 12191999"/>
              <a:gd name="connsiteY4" fmla="*/ 636131 h 6857999"/>
              <a:gd name="connsiteX5" fmla="*/ 10977377 w 12191999"/>
              <a:gd name="connsiteY5" fmla="*/ 636634 h 6857999"/>
              <a:gd name="connsiteX6" fmla="*/ 10986104 w 12191999"/>
              <a:gd name="connsiteY6" fmla="*/ 637808 h 6857999"/>
              <a:gd name="connsiteX7" fmla="*/ 10994328 w 12191999"/>
              <a:gd name="connsiteY7" fmla="*/ 639652 h 6857999"/>
              <a:gd name="connsiteX8" fmla="*/ 11001712 w 12191999"/>
              <a:gd name="connsiteY8" fmla="*/ 642335 h 6857999"/>
              <a:gd name="connsiteX9" fmla="*/ 11008090 w 12191999"/>
              <a:gd name="connsiteY9" fmla="*/ 645856 h 6857999"/>
              <a:gd name="connsiteX10" fmla="*/ 11013964 w 12191999"/>
              <a:gd name="connsiteY10" fmla="*/ 650215 h 6857999"/>
              <a:gd name="connsiteX11" fmla="*/ 11018831 w 12191999"/>
              <a:gd name="connsiteY11" fmla="*/ 655246 h 6857999"/>
              <a:gd name="connsiteX12" fmla="*/ 11023026 w 12191999"/>
              <a:gd name="connsiteY12" fmla="*/ 661114 h 6857999"/>
              <a:gd name="connsiteX13" fmla="*/ 11026383 w 12191999"/>
              <a:gd name="connsiteY13" fmla="*/ 667821 h 6857999"/>
              <a:gd name="connsiteX14" fmla="*/ 11028900 w 12191999"/>
              <a:gd name="connsiteY14" fmla="*/ 675199 h 6857999"/>
              <a:gd name="connsiteX15" fmla="*/ 11031082 w 12191999"/>
              <a:gd name="connsiteY15" fmla="*/ 683247 h 6857999"/>
              <a:gd name="connsiteX16" fmla="*/ 11031921 w 12191999"/>
              <a:gd name="connsiteY16" fmla="*/ 692302 h 6857999"/>
              <a:gd name="connsiteX17" fmla="*/ 11032425 w 12191999"/>
              <a:gd name="connsiteY17" fmla="*/ 701859 h 6857999"/>
              <a:gd name="connsiteX18" fmla="*/ 11031921 w 12191999"/>
              <a:gd name="connsiteY18" fmla="*/ 711081 h 6857999"/>
              <a:gd name="connsiteX19" fmla="*/ 11030578 w 12191999"/>
              <a:gd name="connsiteY19" fmla="*/ 719465 h 6857999"/>
              <a:gd name="connsiteX20" fmla="*/ 11028229 w 12191999"/>
              <a:gd name="connsiteY20" fmla="*/ 727010 h 6857999"/>
              <a:gd name="connsiteX21" fmla="*/ 11025040 w 12191999"/>
              <a:gd name="connsiteY21" fmla="*/ 734052 h 6857999"/>
              <a:gd name="connsiteX22" fmla="*/ 11021348 w 12191999"/>
              <a:gd name="connsiteY22" fmla="*/ 740256 h 6857999"/>
              <a:gd name="connsiteX23" fmla="*/ 11016481 w 12191999"/>
              <a:gd name="connsiteY23" fmla="*/ 745789 h 6857999"/>
              <a:gd name="connsiteX24" fmla="*/ 11011111 w 12191999"/>
              <a:gd name="connsiteY24" fmla="*/ 750820 h 6857999"/>
              <a:gd name="connsiteX25" fmla="*/ 11005404 w 12191999"/>
              <a:gd name="connsiteY25" fmla="*/ 755011 h 6857999"/>
              <a:gd name="connsiteX26" fmla="*/ 10998691 w 12191999"/>
              <a:gd name="connsiteY26" fmla="*/ 758700 h 6857999"/>
              <a:gd name="connsiteX27" fmla="*/ 10991475 w 12191999"/>
              <a:gd name="connsiteY27" fmla="*/ 761551 h 6857999"/>
              <a:gd name="connsiteX28" fmla="*/ 10983923 w 12191999"/>
              <a:gd name="connsiteY28" fmla="*/ 763898 h 6857999"/>
              <a:gd name="connsiteX29" fmla="*/ 10976035 w 12191999"/>
              <a:gd name="connsiteY29" fmla="*/ 765407 h 6857999"/>
              <a:gd name="connsiteX30" fmla="*/ 10967476 w 12191999"/>
              <a:gd name="connsiteY30" fmla="*/ 766413 h 6857999"/>
              <a:gd name="connsiteX31" fmla="*/ 10958581 w 12191999"/>
              <a:gd name="connsiteY31" fmla="*/ 766916 h 6857999"/>
              <a:gd name="connsiteX32" fmla="*/ 10949686 w 12191999"/>
              <a:gd name="connsiteY32" fmla="*/ 766916 h 6857999"/>
              <a:gd name="connsiteX33" fmla="*/ 10949686 w 12191999"/>
              <a:gd name="connsiteY33" fmla="*/ 792235 h 6857999"/>
              <a:gd name="connsiteX34" fmla="*/ 10956063 w 12191999"/>
              <a:gd name="connsiteY34" fmla="*/ 792235 h 6857999"/>
              <a:gd name="connsiteX35" fmla="*/ 10968818 w 12191999"/>
              <a:gd name="connsiteY35" fmla="*/ 791900 h 6857999"/>
              <a:gd name="connsiteX36" fmla="*/ 10980566 w 12191999"/>
              <a:gd name="connsiteY36" fmla="*/ 790391 h 6857999"/>
              <a:gd name="connsiteX37" fmla="*/ 10991475 w 12191999"/>
              <a:gd name="connsiteY37" fmla="*/ 788379 h 6857999"/>
              <a:gd name="connsiteX38" fmla="*/ 11001712 w 12191999"/>
              <a:gd name="connsiteY38" fmla="*/ 785360 h 6857999"/>
              <a:gd name="connsiteX39" fmla="*/ 11011111 w 12191999"/>
              <a:gd name="connsiteY39" fmla="*/ 781672 h 6857999"/>
              <a:gd name="connsiteX40" fmla="*/ 11019502 w 12191999"/>
              <a:gd name="connsiteY40" fmla="*/ 777480 h 6857999"/>
              <a:gd name="connsiteX41" fmla="*/ 11027390 w 12191999"/>
              <a:gd name="connsiteY41" fmla="*/ 772450 h 6857999"/>
              <a:gd name="connsiteX42" fmla="*/ 11034271 w 12191999"/>
              <a:gd name="connsiteY42" fmla="*/ 767084 h 6857999"/>
              <a:gd name="connsiteX43" fmla="*/ 11040312 w 12191999"/>
              <a:gd name="connsiteY43" fmla="*/ 760880 h 6857999"/>
              <a:gd name="connsiteX44" fmla="*/ 11045683 w 12191999"/>
              <a:gd name="connsiteY44" fmla="*/ 754341 h 6857999"/>
              <a:gd name="connsiteX45" fmla="*/ 11050214 w 12191999"/>
              <a:gd name="connsiteY45" fmla="*/ 747466 h 6857999"/>
              <a:gd name="connsiteX46" fmla="*/ 11054242 w 12191999"/>
              <a:gd name="connsiteY46" fmla="*/ 740256 h 6857999"/>
              <a:gd name="connsiteX47" fmla="*/ 11057431 w 12191999"/>
              <a:gd name="connsiteY47" fmla="*/ 732543 h 6857999"/>
              <a:gd name="connsiteX48" fmla="*/ 11059780 w 12191999"/>
              <a:gd name="connsiteY48" fmla="*/ 724663 h 6857999"/>
              <a:gd name="connsiteX49" fmla="*/ 11061626 w 12191999"/>
              <a:gd name="connsiteY49" fmla="*/ 716614 h 6857999"/>
              <a:gd name="connsiteX50" fmla="*/ 11062466 w 12191999"/>
              <a:gd name="connsiteY50" fmla="*/ 708231 h 6857999"/>
              <a:gd name="connsiteX51" fmla="*/ 11062969 w 12191999"/>
              <a:gd name="connsiteY51" fmla="*/ 700014 h 6857999"/>
              <a:gd name="connsiteX52" fmla="*/ 11062298 w 12191999"/>
              <a:gd name="connsiteY52" fmla="*/ 688613 h 6857999"/>
              <a:gd name="connsiteX53" fmla="*/ 11060955 w 12191999"/>
              <a:gd name="connsiteY53" fmla="*/ 678049 h 6857999"/>
              <a:gd name="connsiteX54" fmla="*/ 11058270 w 12191999"/>
              <a:gd name="connsiteY54" fmla="*/ 667821 h 6857999"/>
              <a:gd name="connsiteX55" fmla="*/ 11055081 w 12191999"/>
              <a:gd name="connsiteY55" fmla="*/ 658599 h 6857999"/>
              <a:gd name="connsiteX56" fmla="*/ 11050718 w 12191999"/>
              <a:gd name="connsiteY56" fmla="*/ 650048 h 6857999"/>
              <a:gd name="connsiteX57" fmla="*/ 11045683 w 12191999"/>
              <a:gd name="connsiteY57" fmla="*/ 642335 h 6857999"/>
              <a:gd name="connsiteX58" fmla="*/ 11039641 w 12191999"/>
              <a:gd name="connsiteY58" fmla="*/ 635460 h 6857999"/>
              <a:gd name="connsiteX59" fmla="*/ 11032928 w 12191999"/>
              <a:gd name="connsiteY59" fmla="*/ 629089 h 6857999"/>
              <a:gd name="connsiteX60" fmla="*/ 11025208 w 12191999"/>
              <a:gd name="connsiteY60" fmla="*/ 624058 h 6857999"/>
              <a:gd name="connsiteX61" fmla="*/ 11016984 w 12191999"/>
              <a:gd name="connsiteY61" fmla="*/ 619699 h 6857999"/>
              <a:gd name="connsiteX62" fmla="*/ 11007754 w 12191999"/>
              <a:gd name="connsiteY62" fmla="*/ 616178 h 6857999"/>
              <a:gd name="connsiteX63" fmla="*/ 10997684 w 12191999"/>
              <a:gd name="connsiteY63" fmla="*/ 613663 h 6857999"/>
              <a:gd name="connsiteX64" fmla="*/ 10987279 w 12191999"/>
              <a:gd name="connsiteY64" fmla="*/ 611986 h 6857999"/>
              <a:gd name="connsiteX65" fmla="*/ 10976035 w 12191999"/>
              <a:gd name="connsiteY65" fmla="*/ 611650 h 6857999"/>
              <a:gd name="connsiteX66" fmla="*/ 11323462 w 12191999"/>
              <a:gd name="connsiteY66" fmla="*/ 611650 h 6857999"/>
              <a:gd name="connsiteX67" fmla="*/ 11323462 w 12191999"/>
              <a:gd name="connsiteY67" fmla="*/ 734745 h 6857999"/>
              <a:gd name="connsiteX68" fmla="*/ 11191335 w 12191999"/>
              <a:gd name="connsiteY68" fmla="*/ 734745 h 6857999"/>
              <a:gd name="connsiteX69" fmla="*/ 11191335 w 12191999"/>
              <a:gd name="connsiteY69" fmla="*/ 758979 h 6857999"/>
              <a:gd name="connsiteX70" fmla="*/ 11323462 w 12191999"/>
              <a:gd name="connsiteY70" fmla="*/ 758979 h 6857999"/>
              <a:gd name="connsiteX71" fmla="*/ 11323462 w 12191999"/>
              <a:gd name="connsiteY71" fmla="*/ 883952 h 6857999"/>
              <a:gd name="connsiteX72" fmla="*/ 11351658 w 12191999"/>
              <a:gd name="connsiteY72" fmla="*/ 883952 h 6857999"/>
              <a:gd name="connsiteX73" fmla="*/ 11351658 w 12191999"/>
              <a:gd name="connsiteY73" fmla="*/ 611650 h 6857999"/>
              <a:gd name="connsiteX74" fmla="*/ 11121654 w 12191999"/>
              <a:gd name="connsiteY74" fmla="*/ 611650 h 6857999"/>
              <a:gd name="connsiteX75" fmla="*/ 11121654 w 12191999"/>
              <a:gd name="connsiteY75" fmla="*/ 883952 h 6857999"/>
              <a:gd name="connsiteX76" fmla="*/ 11149850 w 12191999"/>
              <a:gd name="connsiteY76" fmla="*/ 883952 h 6857999"/>
              <a:gd name="connsiteX77" fmla="*/ 11149850 w 12191999"/>
              <a:gd name="connsiteY77" fmla="*/ 611650 h 6857999"/>
              <a:gd name="connsiteX78" fmla="*/ 11533125 w 12191999"/>
              <a:gd name="connsiteY78" fmla="*/ 549275 h 6857999"/>
              <a:gd name="connsiteX79" fmla="*/ 11520550 w 12191999"/>
              <a:gd name="connsiteY79" fmla="*/ 549946 h 6857999"/>
              <a:gd name="connsiteX80" fmla="*/ 11508645 w 12191999"/>
              <a:gd name="connsiteY80" fmla="*/ 552126 h 6857999"/>
              <a:gd name="connsiteX81" fmla="*/ 11497076 w 12191999"/>
              <a:gd name="connsiteY81" fmla="*/ 555647 h 6857999"/>
              <a:gd name="connsiteX82" fmla="*/ 11485842 w 12191999"/>
              <a:gd name="connsiteY82" fmla="*/ 560174 h 6857999"/>
              <a:gd name="connsiteX83" fmla="*/ 11475781 w 12191999"/>
              <a:gd name="connsiteY83" fmla="*/ 566043 h 6857999"/>
              <a:gd name="connsiteX84" fmla="*/ 11466056 w 12191999"/>
              <a:gd name="connsiteY84" fmla="*/ 572917 h 6857999"/>
              <a:gd name="connsiteX85" fmla="*/ 11457505 w 12191999"/>
              <a:gd name="connsiteY85" fmla="*/ 580798 h 6857999"/>
              <a:gd name="connsiteX86" fmla="*/ 11449624 w 12191999"/>
              <a:gd name="connsiteY86" fmla="*/ 589517 h 6857999"/>
              <a:gd name="connsiteX87" fmla="*/ 11442750 w 12191999"/>
              <a:gd name="connsiteY87" fmla="*/ 599074 h 6857999"/>
              <a:gd name="connsiteX88" fmla="*/ 11436881 w 12191999"/>
              <a:gd name="connsiteY88" fmla="*/ 609470 h 6857999"/>
              <a:gd name="connsiteX89" fmla="*/ 11432354 w 12191999"/>
              <a:gd name="connsiteY89" fmla="*/ 620369 h 6857999"/>
              <a:gd name="connsiteX90" fmla="*/ 11428833 w 12191999"/>
              <a:gd name="connsiteY90" fmla="*/ 631939 h 6857999"/>
              <a:gd name="connsiteX91" fmla="*/ 11426821 w 12191999"/>
              <a:gd name="connsiteY91" fmla="*/ 644011 h 6857999"/>
              <a:gd name="connsiteX92" fmla="*/ 11426150 w 12191999"/>
              <a:gd name="connsiteY92" fmla="*/ 656419 h 6857999"/>
              <a:gd name="connsiteX93" fmla="*/ 11426821 w 12191999"/>
              <a:gd name="connsiteY93" fmla="*/ 668994 h 6857999"/>
              <a:gd name="connsiteX94" fmla="*/ 11428833 w 12191999"/>
              <a:gd name="connsiteY94" fmla="*/ 681067 h 6857999"/>
              <a:gd name="connsiteX95" fmla="*/ 11432354 w 12191999"/>
              <a:gd name="connsiteY95" fmla="*/ 692636 h 6857999"/>
              <a:gd name="connsiteX96" fmla="*/ 11436881 w 12191999"/>
              <a:gd name="connsiteY96" fmla="*/ 703703 h 6857999"/>
              <a:gd name="connsiteX97" fmla="*/ 11442750 w 12191999"/>
              <a:gd name="connsiteY97" fmla="*/ 713931 h 6857999"/>
              <a:gd name="connsiteX98" fmla="*/ 11449624 w 12191999"/>
              <a:gd name="connsiteY98" fmla="*/ 723656 h 6857999"/>
              <a:gd name="connsiteX99" fmla="*/ 11457505 w 12191999"/>
              <a:gd name="connsiteY99" fmla="*/ 732207 h 6857999"/>
              <a:gd name="connsiteX100" fmla="*/ 11466056 w 12191999"/>
              <a:gd name="connsiteY100" fmla="*/ 740088 h 6857999"/>
              <a:gd name="connsiteX101" fmla="*/ 11475781 w 12191999"/>
              <a:gd name="connsiteY101" fmla="*/ 746963 h 6857999"/>
              <a:gd name="connsiteX102" fmla="*/ 11485842 w 12191999"/>
              <a:gd name="connsiteY102" fmla="*/ 752664 h 6857999"/>
              <a:gd name="connsiteX103" fmla="*/ 11497076 w 12191999"/>
              <a:gd name="connsiteY103" fmla="*/ 757358 h 6857999"/>
              <a:gd name="connsiteX104" fmla="*/ 11508645 w 12191999"/>
              <a:gd name="connsiteY104" fmla="*/ 760880 h 6857999"/>
              <a:gd name="connsiteX105" fmla="*/ 11520550 w 12191999"/>
              <a:gd name="connsiteY105" fmla="*/ 762892 h 6857999"/>
              <a:gd name="connsiteX106" fmla="*/ 11533125 w 12191999"/>
              <a:gd name="connsiteY106" fmla="*/ 763562 h 6857999"/>
              <a:gd name="connsiteX107" fmla="*/ 11545533 w 12191999"/>
              <a:gd name="connsiteY107" fmla="*/ 762892 h 6857999"/>
              <a:gd name="connsiteX108" fmla="*/ 11557606 w 12191999"/>
              <a:gd name="connsiteY108" fmla="*/ 760880 h 6857999"/>
              <a:gd name="connsiteX109" fmla="*/ 11569175 w 12191999"/>
              <a:gd name="connsiteY109" fmla="*/ 757358 h 6857999"/>
              <a:gd name="connsiteX110" fmla="*/ 11579906 w 12191999"/>
              <a:gd name="connsiteY110" fmla="*/ 752664 h 6857999"/>
              <a:gd name="connsiteX111" fmla="*/ 11590302 w 12191999"/>
              <a:gd name="connsiteY111" fmla="*/ 746963 h 6857999"/>
              <a:gd name="connsiteX112" fmla="*/ 11599859 w 12191999"/>
              <a:gd name="connsiteY112" fmla="*/ 740088 h 6857999"/>
              <a:gd name="connsiteX113" fmla="*/ 11608578 w 12191999"/>
              <a:gd name="connsiteY113" fmla="*/ 732207 h 6857999"/>
              <a:gd name="connsiteX114" fmla="*/ 11616459 w 12191999"/>
              <a:gd name="connsiteY114" fmla="*/ 723656 h 6857999"/>
              <a:gd name="connsiteX115" fmla="*/ 11623501 w 12191999"/>
              <a:gd name="connsiteY115" fmla="*/ 713931 h 6857999"/>
              <a:gd name="connsiteX116" fmla="*/ 11629202 w 12191999"/>
              <a:gd name="connsiteY116" fmla="*/ 703703 h 6857999"/>
              <a:gd name="connsiteX117" fmla="*/ 11633897 w 12191999"/>
              <a:gd name="connsiteY117" fmla="*/ 692636 h 6857999"/>
              <a:gd name="connsiteX118" fmla="*/ 11637251 w 12191999"/>
              <a:gd name="connsiteY118" fmla="*/ 681067 h 6857999"/>
              <a:gd name="connsiteX119" fmla="*/ 11639430 w 12191999"/>
              <a:gd name="connsiteY119" fmla="*/ 668994 h 6857999"/>
              <a:gd name="connsiteX120" fmla="*/ 11640101 w 12191999"/>
              <a:gd name="connsiteY120" fmla="*/ 656419 h 6857999"/>
              <a:gd name="connsiteX121" fmla="*/ 11639430 w 12191999"/>
              <a:gd name="connsiteY121" fmla="*/ 644011 h 6857999"/>
              <a:gd name="connsiteX122" fmla="*/ 11637251 w 12191999"/>
              <a:gd name="connsiteY122" fmla="*/ 631939 h 6857999"/>
              <a:gd name="connsiteX123" fmla="*/ 11633897 w 12191999"/>
              <a:gd name="connsiteY123" fmla="*/ 620369 h 6857999"/>
              <a:gd name="connsiteX124" fmla="*/ 11629202 w 12191999"/>
              <a:gd name="connsiteY124" fmla="*/ 609470 h 6857999"/>
              <a:gd name="connsiteX125" fmla="*/ 11623501 w 12191999"/>
              <a:gd name="connsiteY125" fmla="*/ 599074 h 6857999"/>
              <a:gd name="connsiteX126" fmla="*/ 11616459 w 12191999"/>
              <a:gd name="connsiteY126" fmla="*/ 589517 h 6857999"/>
              <a:gd name="connsiteX127" fmla="*/ 11608578 w 12191999"/>
              <a:gd name="connsiteY127" fmla="*/ 580798 h 6857999"/>
              <a:gd name="connsiteX128" fmla="*/ 11599859 w 12191999"/>
              <a:gd name="connsiteY128" fmla="*/ 572917 h 6857999"/>
              <a:gd name="connsiteX129" fmla="*/ 11590302 w 12191999"/>
              <a:gd name="connsiteY129" fmla="*/ 566043 h 6857999"/>
              <a:gd name="connsiteX130" fmla="*/ 11579906 w 12191999"/>
              <a:gd name="connsiteY130" fmla="*/ 560174 h 6857999"/>
              <a:gd name="connsiteX131" fmla="*/ 11569175 w 12191999"/>
              <a:gd name="connsiteY131" fmla="*/ 555647 h 6857999"/>
              <a:gd name="connsiteX132" fmla="*/ 11557606 w 12191999"/>
              <a:gd name="connsiteY132" fmla="*/ 552126 h 6857999"/>
              <a:gd name="connsiteX133" fmla="*/ 11545533 w 12191999"/>
              <a:gd name="connsiteY133" fmla="*/ 549946 h 6857999"/>
              <a:gd name="connsiteX134" fmla="*/ 0 w 12191999"/>
              <a:gd name="connsiteY134" fmla="*/ 0 h 6857999"/>
              <a:gd name="connsiteX135" fmla="*/ 12191999 w 12191999"/>
              <a:gd name="connsiteY135" fmla="*/ 0 h 6857999"/>
              <a:gd name="connsiteX136" fmla="*/ 12191999 w 12191999"/>
              <a:gd name="connsiteY136" fmla="*/ 6857999 h 6857999"/>
              <a:gd name="connsiteX137" fmla="*/ 0 w 12191999"/>
              <a:gd name="connsiteY13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2191999" h="6857999">
                <a:moveTo>
                  <a:pt x="10878863" y="611650"/>
                </a:moveTo>
                <a:lnTo>
                  <a:pt x="10878863" y="883953"/>
                </a:lnTo>
                <a:lnTo>
                  <a:pt x="10907394" y="883953"/>
                </a:lnTo>
                <a:lnTo>
                  <a:pt x="10907394" y="636131"/>
                </a:lnTo>
                <a:lnTo>
                  <a:pt x="10967643" y="636131"/>
                </a:lnTo>
                <a:lnTo>
                  <a:pt x="10977377" y="636634"/>
                </a:lnTo>
                <a:lnTo>
                  <a:pt x="10986104" y="637808"/>
                </a:lnTo>
                <a:lnTo>
                  <a:pt x="10994328" y="639652"/>
                </a:lnTo>
                <a:lnTo>
                  <a:pt x="11001712" y="642335"/>
                </a:lnTo>
                <a:lnTo>
                  <a:pt x="11008090" y="645856"/>
                </a:lnTo>
                <a:lnTo>
                  <a:pt x="11013964" y="650215"/>
                </a:lnTo>
                <a:lnTo>
                  <a:pt x="11018831" y="655246"/>
                </a:lnTo>
                <a:lnTo>
                  <a:pt x="11023026" y="661114"/>
                </a:lnTo>
                <a:lnTo>
                  <a:pt x="11026383" y="667821"/>
                </a:lnTo>
                <a:lnTo>
                  <a:pt x="11028900" y="675199"/>
                </a:lnTo>
                <a:lnTo>
                  <a:pt x="11031082" y="683247"/>
                </a:lnTo>
                <a:lnTo>
                  <a:pt x="11031921" y="692302"/>
                </a:lnTo>
                <a:lnTo>
                  <a:pt x="11032425" y="701859"/>
                </a:lnTo>
                <a:lnTo>
                  <a:pt x="11031921" y="711081"/>
                </a:lnTo>
                <a:lnTo>
                  <a:pt x="11030578" y="719465"/>
                </a:lnTo>
                <a:lnTo>
                  <a:pt x="11028229" y="727010"/>
                </a:lnTo>
                <a:lnTo>
                  <a:pt x="11025040" y="734052"/>
                </a:lnTo>
                <a:lnTo>
                  <a:pt x="11021348" y="740256"/>
                </a:lnTo>
                <a:lnTo>
                  <a:pt x="11016481" y="745789"/>
                </a:lnTo>
                <a:lnTo>
                  <a:pt x="11011111" y="750820"/>
                </a:lnTo>
                <a:lnTo>
                  <a:pt x="11005404" y="755011"/>
                </a:lnTo>
                <a:lnTo>
                  <a:pt x="10998691" y="758700"/>
                </a:lnTo>
                <a:lnTo>
                  <a:pt x="10991475" y="761551"/>
                </a:lnTo>
                <a:lnTo>
                  <a:pt x="10983923" y="763898"/>
                </a:lnTo>
                <a:lnTo>
                  <a:pt x="10976035" y="765407"/>
                </a:lnTo>
                <a:lnTo>
                  <a:pt x="10967476" y="766413"/>
                </a:lnTo>
                <a:lnTo>
                  <a:pt x="10958581" y="766916"/>
                </a:lnTo>
                <a:lnTo>
                  <a:pt x="10949686" y="766916"/>
                </a:lnTo>
                <a:lnTo>
                  <a:pt x="10949686" y="792235"/>
                </a:lnTo>
                <a:lnTo>
                  <a:pt x="10956063" y="792235"/>
                </a:lnTo>
                <a:lnTo>
                  <a:pt x="10968818" y="791900"/>
                </a:lnTo>
                <a:lnTo>
                  <a:pt x="10980566" y="790391"/>
                </a:lnTo>
                <a:lnTo>
                  <a:pt x="10991475" y="788379"/>
                </a:lnTo>
                <a:lnTo>
                  <a:pt x="11001712" y="785360"/>
                </a:lnTo>
                <a:lnTo>
                  <a:pt x="11011111" y="781672"/>
                </a:lnTo>
                <a:lnTo>
                  <a:pt x="11019502" y="777480"/>
                </a:lnTo>
                <a:lnTo>
                  <a:pt x="11027390" y="772450"/>
                </a:lnTo>
                <a:lnTo>
                  <a:pt x="11034271" y="767084"/>
                </a:lnTo>
                <a:lnTo>
                  <a:pt x="11040312" y="760880"/>
                </a:lnTo>
                <a:lnTo>
                  <a:pt x="11045683" y="754341"/>
                </a:lnTo>
                <a:lnTo>
                  <a:pt x="11050214" y="747466"/>
                </a:lnTo>
                <a:lnTo>
                  <a:pt x="11054242" y="740256"/>
                </a:lnTo>
                <a:lnTo>
                  <a:pt x="11057431" y="732543"/>
                </a:lnTo>
                <a:lnTo>
                  <a:pt x="11059780" y="724663"/>
                </a:lnTo>
                <a:lnTo>
                  <a:pt x="11061626" y="716614"/>
                </a:lnTo>
                <a:lnTo>
                  <a:pt x="11062466" y="708231"/>
                </a:lnTo>
                <a:lnTo>
                  <a:pt x="11062969" y="700014"/>
                </a:lnTo>
                <a:lnTo>
                  <a:pt x="11062298" y="688613"/>
                </a:lnTo>
                <a:lnTo>
                  <a:pt x="11060955" y="678049"/>
                </a:lnTo>
                <a:lnTo>
                  <a:pt x="11058270" y="667821"/>
                </a:lnTo>
                <a:lnTo>
                  <a:pt x="11055081" y="658599"/>
                </a:lnTo>
                <a:lnTo>
                  <a:pt x="11050718" y="650048"/>
                </a:lnTo>
                <a:lnTo>
                  <a:pt x="11045683" y="642335"/>
                </a:lnTo>
                <a:lnTo>
                  <a:pt x="11039641" y="635460"/>
                </a:lnTo>
                <a:lnTo>
                  <a:pt x="11032928" y="629089"/>
                </a:lnTo>
                <a:lnTo>
                  <a:pt x="11025208" y="624058"/>
                </a:lnTo>
                <a:lnTo>
                  <a:pt x="11016984" y="619699"/>
                </a:lnTo>
                <a:lnTo>
                  <a:pt x="11007754" y="616178"/>
                </a:lnTo>
                <a:lnTo>
                  <a:pt x="10997684" y="613663"/>
                </a:lnTo>
                <a:lnTo>
                  <a:pt x="10987279" y="611986"/>
                </a:lnTo>
                <a:lnTo>
                  <a:pt x="10976035" y="611650"/>
                </a:lnTo>
                <a:close/>
                <a:moveTo>
                  <a:pt x="11323462" y="611650"/>
                </a:moveTo>
                <a:lnTo>
                  <a:pt x="11323462" y="734745"/>
                </a:lnTo>
                <a:lnTo>
                  <a:pt x="11191335" y="734745"/>
                </a:lnTo>
                <a:lnTo>
                  <a:pt x="11191335" y="758979"/>
                </a:lnTo>
                <a:lnTo>
                  <a:pt x="11323462" y="758979"/>
                </a:lnTo>
                <a:lnTo>
                  <a:pt x="11323462" y="883952"/>
                </a:lnTo>
                <a:lnTo>
                  <a:pt x="11351658" y="883952"/>
                </a:lnTo>
                <a:lnTo>
                  <a:pt x="11351658" y="611650"/>
                </a:lnTo>
                <a:close/>
                <a:moveTo>
                  <a:pt x="11121654" y="611650"/>
                </a:moveTo>
                <a:lnTo>
                  <a:pt x="11121654" y="883952"/>
                </a:lnTo>
                <a:lnTo>
                  <a:pt x="11149850" y="883952"/>
                </a:lnTo>
                <a:lnTo>
                  <a:pt x="11149850" y="611650"/>
                </a:lnTo>
                <a:close/>
                <a:moveTo>
                  <a:pt x="11533125" y="549275"/>
                </a:moveTo>
                <a:lnTo>
                  <a:pt x="11520550" y="549946"/>
                </a:lnTo>
                <a:lnTo>
                  <a:pt x="11508645" y="552126"/>
                </a:lnTo>
                <a:lnTo>
                  <a:pt x="11497076" y="555647"/>
                </a:lnTo>
                <a:lnTo>
                  <a:pt x="11485842" y="560174"/>
                </a:lnTo>
                <a:lnTo>
                  <a:pt x="11475781" y="566043"/>
                </a:lnTo>
                <a:lnTo>
                  <a:pt x="11466056" y="572917"/>
                </a:lnTo>
                <a:lnTo>
                  <a:pt x="11457505" y="580798"/>
                </a:lnTo>
                <a:lnTo>
                  <a:pt x="11449624" y="589517"/>
                </a:lnTo>
                <a:lnTo>
                  <a:pt x="11442750" y="599074"/>
                </a:lnTo>
                <a:lnTo>
                  <a:pt x="11436881" y="609470"/>
                </a:lnTo>
                <a:lnTo>
                  <a:pt x="11432354" y="620369"/>
                </a:lnTo>
                <a:lnTo>
                  <a:pt x="11428833" y="631939"/>
                </a:lnTo>
                <a:lnTo>
                  <a:pt x="11426821" y="644011"/>
                </a:lnTo>
                <a:lnTo>
                  <a:pt x="11426150" y="656419"/>
                </a:lnTo>
                <a:lnTo>
                  <a:pt x="11426821" y="668994"/>
                </a:lnTo>
                <a:lnTo>
                  <a:pt x="11428833" y="681067"/>
                </a:lnTo>
                <a:lnTo>
                  <a:pt x="11432354" y="692636"/>
                </a:lnTo>
                <a:lnTo>
                  <a:pt x="11436881" y="703703"/>
                </a:lnTo>
                <a:lnTo>
                  <a:pt x="11442750" y="713931"/>
                </a:lnTo>
                <a:lnTo>
                  <a:pt x="11449624" y="723656"/>
                </a:lnTo>
                <a:lnTo>
                  <a:pt x="11457505" y="732207"/>
                </a:lnTo>
                <a:lnTo>
                  <a:pt x="11466056" y="740088"/>
                </a:lnTo>
                <a:lnTo>
                  <a:pt x="11475781" y="746963"/>
                </a:lnTo>
                <a:lnTo>
                  <a:pt x="11485842" y="752664"/>
                </a:lnTo>
                <a:lnTo>
                  <a:pt x="11497076" y="757358"/>
                </a:lnTo>
                <a:lnTo>
                  <a:pt x="11508645" y="760880"/>
                </a:lnTo>
                <a:lnTo>
                  <a:pt x="11520550" y="762892"/>
                </a:lnTo>
                <a:lnTo>
                  <a:pt x="11533125" y="763562"/>
                </a:lnTo>
                <a:lnTo>
                  <a:pt x="11545533" y="762892"/>
                </a:lnTo>
                <a:lnTo>
                  <a:pt x="11557606" y="760880"/>
                </a:lnTo>
                <a:lnTo>
                  <a:pt x="11569175" y="757358"/>
                </a:lnTo>
                <a:lnTo>
                  <a:pt x="11579906" y="752664"/>
                </a:lnTo>
                <a:lnTo>
                  <a:pt x="11590302" y="746963"/>
                </a:lnTo>
                <a:lnTo>
                  <a:pt x="11599859" y="740088"/>
                </a:lnTo>
                <a:lnTo>
                  <a:pt x="11608578" y="732207"/>
                </a:lnTo>
                <a:lnTo>
                  <a:pt x="11616459" y="723656"/>
                </a:lnTo>
                <a:lnTo>
                  <a:pt x="11623501" y="713931"/>
                </a:lnTo>
                <a:lnTo>
                  <a:pt x="11629202" y="703703"/>
                </a:lnTo>
                <a:lnTo>
                  <a:pt x="11633897" y="692636"/>
                </a:lnTo>
                <a:lnTo>
                  <a:pt x="11637251" y="681067"/>
                </a:lnTo>
                <a:lnTo>
                  <a:pt x="11639430" y="668994"/>
                </a:lnTo>
                <a:lnTo>
                  <a:pt x="11640101" y="656419"/>
                </a:lnTo>
                <a:lnTo>
                  <a:pt x="11639430" y="644011"/>
                </a:lnTo>
                <a:lnTo>
                  <a:pt x="11637251" y="631939"/>
                </a:lnTo>
                <a:lnTo>
                  <a:pt x="11633897" y="620369"/>
                </a:lnTo>
                <a:lnTo>
                  <a:pt x="11629202" y="609470"/>
                </a:lnTo>
                <a:lnTo>
                  <a:pt x="11623501" y="599074"/>
                </a:lnTo>
                <a:lnTo>
                  <a:pt x="11616459" y="589517"/>
                </a:lnTo>
                <a:lnTo>
                  <a:pt x="11608578" y="580798"/>
                </a:lnTo>
                <a:lnTo>
                  <a:pt x="11599859" y="572917"/>
                </a:lnTo>
                <a:lnTo>
                  <a:pt x="11590302" y="566043"/>
                </a:lnTo>
                <a:lnTo>
                  <a:pt x="11579906" y="560174"/>
                </a:lnTo>
                <a:lnTo>
                  <a:pt x="11569175" y="555647"/>
                </a:lnTo>
                <a:lnTo>
                  <a:pt x="11557606" y="552126"/>
                </a:lnTo>
                <a:lnTo>
                  <a:pt x="11545533" y="549946"/>
                </a:lnTo>
                <a:close/>
                <a:moveTo>
                  <a:pt x="0" y="0"/>
                </a:moveTo>
                <a:lnTo>
                  <a:pt x="12191999" y="0"/>
                </a:lnTo>
                <a:lnTo>
                  <a:pt x="12191999" y="6857999"/>
                </a:lnTo>
                <a:lnTo>
                  <a:pt x="0" y="6857999"/>
                </a:lnTo>
                <a:close/>
              </a:path>
            </a:pathLst>
          </a:custGeom>
        </p:spPr>
        <p:txBody>
          <a:bodyPr wrap="square">
            <a:noAutofit/>
          </a:bodyPr>
          <a:lstStyle/>
          <a:p>
            <a:r>
              <a:rPr lang="de-DE"/>
              <a:t>Bild auf Platzhalter ziehen oder durch Klicken auf Symbol hinzufügen</a:t>
            </a:r>
          </a:p>
        </p:txBody>
      </p:sp>
      <p:sp>
        <p:nvSpPr>
          <p:cNvPr id="38" name="Titel 37"/>
          <p:cNvSpPr>
            <a:spLocks noGrp="1"/>
          </p:cNvSpPr>
          <p:nvPr>
            <p:ph type="title"/>
          </p:nvPr>
        </p:nvSpPr>
        <p:spPr/>
        <p:txBody>
          <a:bodyPr/>
          <a:lstStyle/>
          <a:p>
            <a:r>
              <a:rPr lang="de-DE"/>
              <a:t>Mastertitelformat bearbeiten</a:t>
            </a:r>
          </a:p>
        </p:txBody>
      </p:sp>
      <p:sp>
        <p:nvSpPr>
          <p:cNvPr id="11" name="Freeform 9"/>
          <p:cNvSpPr>
            <a:spLocks/>
          </p:cNvSpPr>
          <p:nvPr/>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10"/>
          <p:cNvSpPr>
            <a:spLocks/>
          </p:cNvSpPr>
          <p:nvPr/>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 name="Fußzeilenplatzhalter 2"/>
          <p:cNvSpPr>
            <a:spLocks noGrp="1"/>
          </p:cNvSpPr>
          <p:nvPr>
            <p:ph type="ftr" sz="quarter" idx="12"/>
          </p:nvPr>
        </p:nvSpPr>
        <p:spPr/>
        <p:txBody>
          <a:bodyPr/>
          <a:lstStyle/>
          <a:p>
            <a:endParaRPr lang="de-DE" dirty="0"/>
          </a:p>
        </p:txBody>
      </p:sp>
      <p:sp>
        <p:nvSpPr>
          <p:cNvPr id="17" name="Abgerundetes Rechteck 16">
            <a:extLst>
              <a:ext uri="{FF2B5EF4-FFF2-40B4-BE49-F238E27FC236}">
                <a16:creationId xmlns:a16="http://schemas.microsoft.com/office/drawing/2014/main" id="{5F9CC6E2-CF50-CF45-8B8D-62EF90AC6DCC}"/>
              </a:ext>
            </a:extLst>
          </p:cNvPr>
          <p:cNvSpPr/>
          <p:nvPr userDrawn="1"/>
        </p:nvSpPr>
        <p:spPr>
          <a:xfrm>
            <a:off x="9756071" y="6243331"/>
            <a:ext cx="1884032" cy="475589"/>
          </a:xfrm>
          <a:prstGeom prst="roundRect">
            <a:avLst/>
          </a:prstGeom>
          <a:solidFill>
            <a:schemeClr val="bg2"/>
          </a:solidFill>
          <a:ln>
            <a:solidFill>
              <a:srgbClr val="425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pic>
        <p:nvPicPr>
          <p:cNvPr id="18" name="Grafik 17" descr="Chevron Pfeile">
            <a:hlinkClick r:id="" action="ppaction://hlinkshowjump?jump=nextslide"/>
            <a:extLst>
              <a:ext uri="{FF2B5EF4-FFF2-40B4-BE49-F238E27FC236}">
                <a16:creationId xmlns:a16="http://schemas.microsoft.com/office/drawing/2014/main" id="{0C2CA473-3C25-0043-8471-D86EDDBF2638}"/>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165925" y="6281851"/>
            <a:ext cx="418658" cy="418658"/>
          </a:xfrm>
          <a:prstGeom prst="rect">
            <a:avLst/>
          </a:prstGeom>
        </p:spPr>
      </p:pic>
      <p:pic>
        <p:nvPicPr>
          <p:cNvPr id="19" name="Grafik 18" descr="Chevronpfeile RNL">
            <a:hlinkClick r:id="" action="ppaction://hlinkshowjump?jump=previousslide"/>
            <a:extLst>
              <a:ext uri="{FF2B5EF4-FFF2-40B4-BE49-F238E27FC236}">
                <a16:creationId xmlns:a16="http://schemas.microsoft.com/office/drawing/2014/main" id="{3E08F370-4AFD-1F4F-8ACF-D2988329AC4A}"/>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9823609" y="6281851"/>
            <a:ext cx="418658" cy="418658"/>
          </a:xfrm>
          <a:prstGeom prst="rect">
            <a:avLst/>
          </a:prstGeom>
        </p:spPr>
      </p:pic>
      <p:pic>
        <p:nvPicPr>
          <p:cNvPr id="21" name="Grafik 20" descr="Zuhause">
            <a:hlinkClick r:id="" action="ppaction://hlinkshowjump?jump=firstslide"/>
            <a:extLst>
              <a:ext uri="{FF2B5EF4-FFF2-40B4-BE49-F238E27FC236}">
                <a16:creationId xmlns:a16="http://schemas.microsoft.com/office/drawing/2014/main" id="{AB2152FF-CB8D-D74C-81A6-52769EEEFECF}"/>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0329292" y="6281851"/>
            <a:ext cx="367685" cy="367685"/>
          </a:xfrm>
          <a:prstGeom prst="rect">
            <a:avLst/>
          </a:prstGeom>
        </p:spPr>
      </p:pic>
      <p:sp>
        <p:nvSpPr>
          <p:cNvPr id="22" name="Textfeld 21">
            <a:hlinkClick r:id="rId12" action="ppaction://hlinksldjump"/>
            <a:extLst>
              <a:ext uri="{FF2B5EF4-FFF2-40B4-BE49-F238E27FC236}">
                <a16:creationId xmlns:a16="http://schemas.microsoft.com/office/drawing/2014/main" id="{CDA416DB-B334-F147-B6C2-0471A2FA111F}"/>
              </a:ext>
            </a:extLst>
          </p:cNvPr>
          <p:cNvSpPr txBox="1"/>
          <p:nvPr userDrawn="1"/>
        </p:nvSpPr>
        <p:spPr>
          <a:xfrm>
            <a:off x="10784002" y="6322201"/>
            <a:ext cx="294897" cy="289345"/>
          </a:xfrm>
          <a:custGeom>
            <a:avLst/>
            <a:gdLst/>
            <a:ahLst/>
            <a:cxnLst/>
            <a:rect l="l" t="t" r="r" b="b"/>
            <a:pathLst>
              <a:path w="889852" h="889852">
                <a:moveTo>
                  <a:pt x="444926" y="0"/>
                </a:moveTo>
                <a:cubicBezTo>
                  <a:pt x="690652" y="0"/>
                  <a:pt x="889852" y="199200"/>
                  <a:pt x="889852" y="444926"/>
                </a:cubicBezTo>
                <a:cubicBezTo>
                  <a:pt x="889852" y="690652"/>
                  <a:pt x="690652" y="889852"/>
                  <a:pt x="444926" y="889852"/>
                </a:cubicBezTo>
                <a:cubicBezTo>
                  <a:pt x="199200" y="889852"/>
                  <a:pt x="0" y="690652"/>
                  <a:pt x="0" y="444926"/>
                </a:cubicBezTo>
                <a:cubicBezTo>
                  <a:pt x="0" y="199200"/>
                  <a:pt x="199200" y="0"/>
                  <a:pt x="444926" y="0"/>
                </a:cubicBezTo>
                <a:close/>
                <a:moveTo>
                  <a:pt x="382813" y="227974"/>
                </a:moveTo>
                <a:lnTo>
                  <a:pt x="382813" y="303983"/>
                </a:lnTo>
                <a:lnTo>
                  <a:pt x="494494" y="303983"/>
                </a:lnTo>
                <a:lnTo>
                  <a:pt x="494494" y="227974"/>
                </a:lnTo>
                <a:lnTo>
                  <a:pt x="382813" y="227974"/>
                </a:lnTo>
                <a:close/>
                <a:moveTo>
                  <a:pt x="382813" y="338832"/>
                </a:moveTo>
                <a:lnTo>
                  <a:pt x="382813" y="630247"/>
                </a:lnTo>
                <a:lnTo>
                  <a:pt x="494494" y="630247"/>
                </a:lnTo>
                <a:lnTo>
                  <a:pt x="494494" y="338832"/>
                </a:lnTo>
                <a:lnTo>
                  <a:pt x="382813" y="338832"/>
                </a:lnTo>
                <a:close/>
              </a:path>
            </a:pathLst>
          </a:custGeom>
          <a:solidFill>
            <a:srgbClr val="42586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CH" sz="3600" b="1" dirty="0">
              <a:solidFill>
                <a:schemeClr val="bg1"/>
              </a:solidFill>
              <a:latin typeface="Arial Black" panose="020B0604020202020204" pitchFamily="34" charset="0"/>
              <a:cs typeface="Arial Black" panose="020B0604020202020204" pitchFamily="34" charset="0"/>
            </a:endParaRPr>
          </a:p>
        </p:txBody>
      </p:sp>
    </p:spTree>
    <p:extLst>
      <p:ext uri="{BB962C8B-B14F-4D97-AF65-F5344CB8AC3E}">
        <p14:creationId xmlns:p14="http://schemas.microsoft.com/office/powerpoint/2010/main" val="3806018323"/>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pos="347">
          <p15:clr>
            <a:srgbClr val="FBAE40"/>
          </p15:clr>
        </p15:guide>
        <p15:guide id="4" pos="733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Folie" r:id="rId20" imgW="344" imgH="344" progId="TCLayout.ActiveDocument.1">
                  <p:embed/>
                </p:oleObj>
              </mc:Choice>
              <mc:Fallback>
                <p:oleObj name="think-cell Folie" r:id="rId20" imgW="344" imgH="344" progId="TCLayout.ActiveDocument.1">
                  <p:embed/>
                  <p:pic>
                    <p:nvPicPr>
                      <p:cNvPr id="12" name="Objekt 11" hidden="1"/>
                      <p:cNvPicPr/>
                      <p:nvPr/>
                    </p:nvPicPr>
                    <p:blipFill>
                      <a:blip r:embed="rId2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550863" y="549276"/>
            <a:ext cx="9865617" cy="827088"/>
          </a:xfrm>
          <a:prstGeom prst="rect">
            <a:avLst/>
          </a:prstGeom>
        </p:spPr>
        <p:txBody>
          <a:bodyPr vert="horz" lIns="0" tIns="0" rIns="0" bIns="0" rtlCol="0" anchor="t">
            <a:no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550862" y="1989137"/>
            <a:ext cx="11090275" cy="4140201"/>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endParaRPr lang="en-US" dirty="0"/>
          </a:p>
        </p:txBody>
      </p:sp>
      <p:sp>
        <p:nvSpPr>
          <p:cNvPr id="5" name="Fußzeilenplatzhalter 4"/>
          <p:cNvSpPr>
            <a:spLocks noGrp="1"/>
          </p:cNvSpPr>
          <p:nvPr>
            <p:ph type="ftr" sz="quarter" idx="3"/>
          </p:nvPr>
        </p:nvSpPr>
        <p:spPr>
          <a:xfrm>
            <a:off x="550862" y="6484255"/>
            <a:ext cx="8444882" cy="365125"/>
          </a:xfrm>
          <a:prstGeom prst="rect">
            <a:avLst/>
          </a:prstGeom>
        </p:spPr>
        <p:txBody>
          <a:bodyPr vert="horz" lIns="0" tIns="0" rIns="0" bIns="0" rtlCol="0" anchor="ctr"/>
          <a:lstStyle>
            <a:lvl1pPr algn="l">
              <a:defRPr sz="800">
                <a:solidFill>
                  <a:schemeClr val="tx1">
                    <a:tint val="75000"/>
                  </a:schemeClr>
                </a:solidFill>
              </a:defRPr>
            </a:lvl1pPr>
          </a:lstStyle>
          <a:p>
            <a:endParaRPr lang="de-DE" dirty="0"/>
          </a:p>
        </p:txBody>
      </p:sp>
      <p:grpSp>
        <p:nvGrpSpPr>
          <p:cNvPr id="8" name="Gruppieren 7"/>
          <p:cNvGrpSpPr/>
          <p:nvPr userDrawn="1"/>
        </p:nvGrpSpPr>
        <p:grpSpPr>
          <a:xfrm>
            <a:off x="10878865" y="549276"/>
            <a:ext cx="761238" cy="334677"/>
            <a:chOff x="10878865" y="-77943"/>
            <a:chExt cx="761238" cy="334677"/>
          </a:xfrm>
        </p:grpSpPr>
        <p:sp>
          <p:nvSpPr>
            <p:cNvPr id="15" name="Freeform 6"/>
            <p:cNvSpPr>
              <a:spLocks/>
            </p:cNvSpPr>
            <p:nvPr userDrawn="1"/>
          </p:nvSpPr>
          <p:spPr bwMode="auto">
            <a:xfrm>
              <a:off x="10878865" y="-15568"/>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8"/>
            <p:cNvSpPr>
              <a:spLocks/>
            </p:cNvSpPr>
            <p:nvPr userDrawn="1"/>
          </p:nvSpPr>
          <p:spPr bwMode="auto">
            <a:xfrm>
              <a:off x="11426152" y="-77943"/>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9"/>
            <p:cNvSpPr>
              <a:spLocks/>
            </p:cNvSpPr>
            <p:nvPr userDrawn="1"/>
          </p:nvSpPr>
          <p:spPr bwMode="auto">
            <a:xfrm>
              <a:off x="11461028" y="-12550"/>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0"/>
            <p:cNvSpPr>
              <a:spLocks/>
            </p:cNvSpPr>
            <p:nvPr userDrawn="1"/>
          </p:nvSpPr>
          <p:spPr bwMode="auto">
            <a:xfrm>
              <a:off x="11534133" y="-12550"/>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9" name="Gruppieren 18"/>
            <p:cNvGrpSpPr/>
            <p:nvPr userDrawn="1"/>
          </p:nvGrpSpPr>
          <p:grpSpPr>
            <a:xfrm>
              <a:off x="11121656" y="-15568"/>
              <a:ext cx="230004" cy="272302"/>
              <a:chOff x="9654267" y="4808896"/>
              <a:chExt cx="880997" cy="1043013"/>
            </a:xfrm>
          </p:grpSpPr>
          <p:sp>
            <p:nvSpPr>
              <p:cNvPr id="20" name="Rechteck 19"/>
              <p:cNvSpPr/>
              <p:nvPr userDrawn="1"/>
            </p:nvSpPr>
            <p:spPr>
              <a:xfrm>
                <a:off x="10427263" y="4808896"/>
                <a:ext cx="108001" cy="1043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userDrawn="1"/>
            </p:nvSpPr>
            <p:spPr>
              <a:xfrm>
                <a:off x="9654267" y="4808896"/>
                <a:ext cx="108001" cy="1043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userDrawn="1"/>
            </p:nvSpPr>
            <p:spPr>
              <a:xfrm>
                <a:off x="9921169" y="5280392"/>
                <a:ext cx="506094" cy="928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Tree>
    <p:extLst>
      <p:ext uri="{BB962C8B-B14F-4D97-AF65-F5344CB8AC3E}">
        <p14:creationId xmlns:p14="http://schemas.microsoft.com/office/powerpoint/2010/main" val="41195501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Lst>
  <p:hf sldNum="0" hdr="0" ftr="0" dt="0"/>
  <p:txStyles>
    <p:titleStyle>
      <a:lvl1pPr algn="l" defTabSz="914400" rtl="0" eaLnBrk="1" latinLnBrk="0" hangingPunct="1">
        <a:lnSpc>
          <a:spcPct val="100000"/>
        </a:lnSpc>
        <a:spcBef>
          <a:spcPct val="0"/>
        </a:spcBef>
        <a:buNone/>
        <a:defRPr sz="2400" b="1" kern="1200" cap="all" baseline="0">
          <a:solidFill>
            <a:srgbClr val="425861"/>
          </a:solidFill>
          <a:latin typeface="+mj-lt"/>
          <a:ea typeface="+mj-ea"/>
          <a:cs typeface="+mj-cs"/>
        </a:defRPr>
      </a:lvl1pPr>
    </p:titleStyle>
    <p:bodyStyle>
      <a:lvl1pPr marL="180000" indent="-180000" algn="l" defTabSz="914400" rtl="0" eaLnBrk="1" latinLnBrk="0" hangingPunct="1">
        <a:lnSpc>
          <a:spcPct val="100000"/>
        </a:lnSpc>
        <a:spcBef>
          <a:spcPts val="1200"/>
        </a:spcBef>
        <a:buClr>
          <a:schemeClr val="accent1"/>
        </a:buClr>
        <a:buFont typeface="Wingdings" pitchFamily="2" charset="2"/>
        <a:buChar char="§"/>
        <a:defRPr sz="2000" kern="1200" baseline="0">
          <a:solidFill>
            <a:srgbClr val="425861"/>
          </a:solidFill>
          <a:latin typeface="+mn-lt"/>
          <a:ea typeface="+mn-ea"/>
          <a:cs typeface="+mn-cs"/>
        </a:defRPr>
      </a:lvl1pPr>
      <a:lvl2pPr marL="360000" indent="-180000" algn="l" defTabSz="914400" rtl="0" eaLnBrk="1" latinLnBrk="0" hangingPunct="1">
        <a:lnSpc>
          <a:spcPct val="100000"/>
        </a:lnSpc>
        <a:spcBef>
          <a:spcPts val="600"/>
        </a:spcBef>
        <a:buFont typeface="Wingdings" pitchFamily="2" charset="2"/>
        <a:buChar char="§"/>
        <a:defRPr sz="2000" kern="1200" baseline="0">
          <a:solidFill>
            <a:srgbClr val="425861"/>
          </a:solidFill>
          <a:latin typeface="+mn-lt"/>
          <a:ea typeface="+mn-ea"/>
          <a:cs typeface="+mn-cs"/>
        </a:defRPr>
      </a:lvl2pPr>
      <a:lvl3pPr marL="540000" indent="-180000" algn="l" defTabSz="914400" rtl="0" eaLnBrk="1" latinLnBrk="0" hangingPunct="1">
        <a:lnSpc>
          <a:spcPct val="100000"/>
        </a:lnSpc>
        <a:spcBef>
          <a:spcPts val="0"/>
        </a:spcBef>
        <a:buFont typeface="Arial" panose="020B0604020202020204" pitchFamily="34" charset="0"/>
        <a:buChar char="•"/>
        <a:defRPr sz="2000" kern="1200" baseline="0">
          <a:solidFill>
            <a:srgbClr val="425861"/>
          </a:solidFill>
          <a:latin typeface="+mn-lt"/>
          <a:ea typeface="+mn-ea"/>
          <a:cs typeface="+mn-cs"/>
        </a:defRPr>
      </a:lvl3pPr>
      <a:lvl4pPr marL="720000" indent="-180000" algn="l" defTabSz="914400" rtl="0" eaLnBrk="1" latinLnBrk="0" hangingPunct="1">
        <a:lnSpc>
          <a:spcPct val="100000"/>
        </a:lnSpc>
        <a:spcBef>
          <a:spcPts val="0"/>
        </a:spcBef>
        <a:buFont typeface="Courier New" panose="02070309020205020404" pitchFamily="49" charset="0"/>
        <a:buChar char="o"/>
        <a:defRPr sz="2000" kern="1200" baseline="0">
          <a:solidFill>
            <a:srgbClr val="425861"/>
          </a:solidFill>
          <a:latin typeface="+mn-lt"/>
          <a:ea typeface="+mn-ea"/>
          <a:cs typeface="+mn-cs"/>
        </a:defRPr>
      </a:lvl4pPr>
      <a:lvl5pPr marL="900000" indent="-180000" algn="l" defTabSz="914400" rtl="0" eaLnBrk="1" latinLnBrk="0" hangingPunct="1">
        <a:lnSpc>
          <a:spcPct val="100000"/>
        </a:lnSpc>
        <a:spcBef>
          <a:spcPts val="0"/>
        </a:spcBef>
        <a:buFont typeface="Symbol" panose="05050102010706020507" pitchFamily="18" charset="2"/>
        <a:buChar char="-"/>
        <a:defRPr sz="2000" kern="1200" baseline="0">
          <a:solidFill>
            <a:srgbClr val="425861"/>
          </a:solidFill>
          <a:latin typeface="+mn-lt"/>
          <a:ea typeface="+mn-ea"/>
          <a:cs typeface="+mn-cs"/>
        </a:defRPr>
      </a:lvl5pPr>
      <a:lvl6pPr marL="1080000" indent="-180000" algn="l" defTabSz="914400" rtl="0" eaLnBrk="1" latinLnBrk="0" hangingPunct="1">
        <a:lnSpc>
          <a:spcPct val="100000"/>
        </a:lnSpc>
        <a:spcBef>
          <a:spcPts val="0"/>
        </a:spcBef>
        <a:buFont typeface="Symbol" panose="05050102010706020507" pitchFamily="18" charset="2"/>
        <a:buChar char="-"/>
        <a:defRPr sz="2000" kern="1200" baseline="0">
          <a:solidFill>
            <a:srgbClr val="425861"/>
          </a:solidFill>
          <a:latin typeface="+mn-lt"/>
          <a:ea typeface="+mn-ea"/>
          <a:cs typeface="+mn-cs"/>
        </a:defRPr>
      </a:lvl6pPr>
      <a:lvl7pPr marL="1260000" indent="-180000" algn="l" defTabSz="914400" rtl="0" eaLnBrk="1" latinLnBrk="0" hangingPunct="1">
        <a:lnSpc>
          <a:spcPct val="100000"/>
        </a:lnSpc>
        <a:spcBef>
          <a:spcPts val="0"/>
        </a:spcBef>
        <a:buFont typeface="Symbol" panose="05050102010706020507" pitchFamily="18" charset="2"/>
        <a:buChar char="-"/>
        <a:defRPr sz="2000" kern="1200" baseline="0">
          <a:solidFill>
            <a:srgbClr val="425861"/>
          </a:solidFill>
          <a:latin typeface="+mn-lt"/>
          <a:ea typeface="+mn-ea"/>
          <a:cs typeface="+mn-cs"/>
        </a:defRPr>
      </a:lvl7pPr>
      <a:lvl8pPr marL="1440000" indent="-180000" algn="l" defTabSz="914400" rtl="0" eaLnBrk="1" latinLnBrk="0" hangingPunct="1">
        <a:lnSpc>
          <a:spcPct val="100000"/>
        </a:lnSpc>
        <a:spcBef>
          <a:spcPts val="0"/>
        </a:spcBef>
        <a:buFont typeface="Symbol" panose="05050102010706020507" pitchFamily="18" charset="2"/>
        <a:buChar char="-"/>
        <a:defRPr sz="2000" kern="1200" baseline="0">
          <a:solidFill>
            <a:srgbClr val="425861"/>
          </a:solidFill>
          <a:latin typeface="+mn-lt"/>
          <a:ea typeface="+mn-ea"/>
          <a:cs typeface="+mn-cs"/>
        </a:defRPr>
      </a:lvl8pPr>
      <a:lvl9pPr marL="1620000" indent="-180000" algn="l" defTabSz="914400" rtl="0" eaLnBrk="1" latinLnBrk="0" hangingPunct="1">
        <a:lnSpc>
          <a:spcPct val="100000"/>
        </a:lnSpc>
        <a:spcBef>
          <a:spcPts val="0"/>
        </a:spcBef>
        <a:buFont typeface="Symbol" panose="05050102010706020507" pitchFamily="18" charset="2"/>
        <a:buChar char="-"/>
        <a:defRPr sz="2000" kern="1200" baseline="0">
          <a:solidFill>
            <a:srgbClr val="42586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20.jpeg"/></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2.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hyperlink" Target="https://classic.csunplugged.org/wp-content/uploads/2014/12/CS_Unplugged-de.pdf"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3175" y="3332606"/>
            <a:ext cx="12188824" cy="3581956"/>
          </a:xfrm>
        </p:spPr>
        <p:txBody>
          <a:bodyPr/>
          <a:lstStyle/>
          <a:p>
            <a:pPr>
              <a:lnSpc>
                <a:spcPct val="95000"/>
              </a:lnSpc>
              <a:spcBef>
                <a:spcPts val="1200"/>
              </a:spcBef>
            </a:pPr>
            <a:r>
              <a:rPr lang="en-US" sz="2400" dirty="0" err="1"/>
              <a:t>Binäre</a:t>
            </a:r>
            <a:r>
              <a:rPr lang="en-US" sz="2400" dirty="0"/>
              <a:t> Welt der Bits und Bytes</a:t>
            </a:r>
            <a:br>
              <a:rPr lang="en-US" sz="2400" dirty="0"/>
            </a:br>
            <a:endParaRPr lang="en-US" dirty="0"/>
          </a:p>
        </p:txBody>
      </p:sp>
      <p:sp>
        <p:nvSpPr>
          <p:cNvPr id="9" name="Untertitel 5">
            <a:extLst>
              <a:ext uri="{FF2B5EF4-FFF2-40B4-BE49-F238E27FC236}">
                <a16:creationId xmlns:a16="http://schemas.microsoft.com/office/drawing/2014/main" id="{C98F1218-93DB-2947-9521-A7645DD493AE}"/>
              </a:ext>
            </a:extLst>
          </p:cNvPr>
          <p:cNvSpPr>
            <a:spLocks noGrp="1"/>
          </p:cNvSpPr>
          <p:nvPr>
            <p:ph type="subTitle" idx="1"/>
          </p:nvPr>
        </p:nvSpPr>
        <p:spPr>
          <a:xfrm>
            <a:off x="555097" y="4928976"/>
            <a:ext cx="6282814" cy="1613125"/>
          </a:xfrm>
        </p:spPr>
        <p:txBody>
          <a:bodyPr/>
          <a:lstStyle/>
          <a:p>
            <a:pPr>
              <a:spcBef>
                <a:spcPts val="0"/>
              </a:spcBef>
            </a:pPr>
            <a:r>
              <a:rPr lang="en-US" sz="2200" dirty="0" err="1"/>
              <a:t>Vorbereitung</a:t>
            </a:r>
            <a:r>
              <a:rPr lang="en-US" sz="2200" dirty="0"/>
              <a:t> </a:t>
            </a:r>
            <a:r>
              <a:rPr lang="en-US" sz="2200" dirty="0" err="1"/>
              <a:t>Klassenbesuch</a:t>
            </a:r>
            <a:endParaRPr lang="en-US" sz="2200" dirty="0"/>
          </a:p>
          <a:p>
            <a:r>
              <a:rPr lang="en-US" sz="1600" dirty="0"/>
              <a:t>RDZ / </a:t>
            </a:r>
            <a:r>
              <a:rPr lang="en-US" sz="1600" dirty="0" err="1"/>
              <a:t>Pädagogische</a:t>
            </a:r>
            <a:r>
              <a:rPr lang="en-US" sz="1600" dirty="0"/>
              <a:t> Hochschule </a:t>
            </a:r>
            <a:r>
              <a:rPr lang="en-US" sz="1600" dirty="0" err="1"/>
              <a:t>St.Gallen</a:t>
            </a:r>
            <a:endParaRPr lang="en-US" sz="1600" dirty="0"/>
          </a:p>
        </p:txBody>
      </p:sp>
      <p:sp>
        <p:nvSpPr>
          <p:cNvPr id="18" name="Textfeld 17">
            <a:extLst>
              <a:ext uri="{FF2B5EF4-FFF2-40B4-BE49-F238E27FC236}">
                <a16:creationId xmlns:a16="http://schemas.microsoft.com/office/drawing/2014/main" id="{2690CFDC-D30C-DC44-BDD2-8D67F8031E97}"/>
              </a:ext>
            </a:extLst>
          </p:cNvPr>
          <p:cNvSpPr txBox="1"/>
          <p:nvPr/>
        </p:nvSpPr>
        <p:spPr>
          <a:xfrm>
            <a:off x="412831" y="3209495"/>
            <a:ext cx="5683169" cy="123111"/>
          </a:xfrm>
          <a:prstGeom prst="rect">
            <a:avLst/>
          </a:prstGeom>
          <a:noFill/>
        </p:spPr>
        <p:txBody>
          <a:bodyPr wrap="square" lIns="0" tIns="0" rIns="0" bIns="0" rtlCol="0">
            <a:spAutoFit/>
          </a:bodyPr>
          <a:lstStyle/>
          <a:p>
            <a:r>
              <a:rPr lang="de-CH" sz="800" i="1" dirty="0">
                <a:solidFill>
                  <a:schemeClr val="bg1">
                    <a:lumMod val="95000"/>
                  </a:schemeClr>
                </a:solidFill>
              </a:rPr>
              <a:t>Bild: https://</a:t>
            </a:r>
            <a:r>
              <a:rPr lang="de-CH" sz="800" i="1" dirty="0" err="1">
                <a:solidFill>
                  <a:schemeClr val="bg1">
                    <a:lumMod val="95000"/>
                  </a:schemeClr>
                </a:solidFill>
              </a:rPr>
              <a:t>blog.magenta.at</a:t>
            </a:r>
            <a:r>
              <a:rPr lang="de-CH" sz="800" i="1" dirty="0">
                <a:solidFill>
                  <a:schemeClr val="bg1">
                    <a:lumMod val="95000"/>
                  </a:schemeClr>
                </a:solidFill>
              </a:rPr>
              <a:t>/2018/12/11/robo-wunderkind-2/robo-wunderkind-2/</a:t>
            </a:r>
          </a:p>
        </p:txBody>
      </p:sp>
      <p:pic>
        <p:nvPicPr>
          <p:cNvPr id="28" name="Bildplatzhalter 27" descr="Ein Bild, das Gebäude, draußen, groß, sitzend enthält.&#10;&#10;Automatisch generierte Beschreibung">
            <a:extLst>
              <a:ext uri="{FF2B5EF4-FFF2-40B4-BE49-F238E27FC236}">
                <a16:creationId xmlns:a16="http://schemas.microsoft.com/office/drawing/2014/main" id="{8966CE4B-BA2F-47BB-96FA-B8CB812A02C1}"/>
              </a:ext>
            </a:extLst>
          </p:cNvPr>
          <p:cNvPicPr>
            <a:picLocks noGrp="1" noChangeAspect="1"/>
          </p:cNvPicPr>
          <p:nvPr>
            <p:ph type="pic" sz="quarter" idx="10"/>
          </p:nvPr>
        </p:nvPicPr>
        <p:blipFill>
          <a:blip r:embed="rId3" cstate="hqprint">
            <a:extLst>
              <a:ext uri="{28A0092B-C50C-407E-A947-70E740481C1C}">
                <a14:useLocalDpi xmlns:a14="http://schemas.microsoft.com/office/drawing/2010/main"/>
              </a:ext>
            </a:extLst>
          </a:blip>
          <a:srcRect/>
          <a:stretch>
            <a:fillRect/>
          </a:stretch>
        </p:blipFill>
        <p:spPr>
          <a:xfrm>
            <a:off x="0" y="11837"/>
            <a:ext cx="12192000" cy="3498625"/>
          </a:xfrm>
        </p:spPr>
      </p:pic>
      <p:sp>
        <p:nvSpPr>
          <p:cNvPr id="29" name="Richtungspfeil 1">
            <a:extLst>
              <a:ext uri="{FF2B5EF4-FFF2-40B4-BE49-F238E27FC236}">
                <a16:creationId xmlns:a16="http://schemas.microsoft.com/office/drawing/2014/main" id="{1FA19ACA-053E-4B97-8FC2-290F54A19D28}"/>
              </a:ext>
            </a:extLst>
          </p:cNvPr>
          <p:cNvSpPr/>
          <p:nvPr/>
        </p:nvSpPr>
        <p:spPr>
          <a:xfrm>
            <a:off x="-4900" y="1132799"/>
            <a:ext cx="2540681" cy="1123055"/>
          </a:xfrm>
          <a:prstGeom prst="homePlate">
            <a:avLst>
              <a:gd name="adj" fmla="val 17760"/>
            </a:avLst>
          </a:prstGeom>
          <a:solidFill>
            <a:schemeClr val="bg2"/>
          </a:solidFill>
          <a:ln w="12700">
            <a:solidFill>
              <a:srgbClr val="425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grpSp>
        <p:nvGrpSpPr>
          <p:cNvPr id="33" name="Gruppieren 32">
            <a:extLst>
              <a:ext uri="{FF2B5EF4-FFF2-40B4-BE49-F238E27FC236}">
                <a16:creationId xmlns:a16="http://schemas.microsoft.com/office/drawing/2014/main" id="{721F44B0-5EC3-4A5F-8CF6-E61A275A1BAF}"/>
              </a:ext>
            </a:extLst>
          </p:cNvPr>
          <p:cNvGrpSpPr/>
          <p:nvPr/>
        </p:nvGrpSpPr>
        <p:grpSpPr>
          <a:xfrm>
            <a:off x="1321412" y="1244111"/>
            <a:ext cx="946150" cy="900430"/>
            <a:chOff x="0" y="0"/>
            <a:chExt cx="762000" cy="725170"/>
          </a:xfrm>
        </p:grpSpPr>
        <p:sp>
          <p:nvSpPr>
            <p:cNvPr id="34" name="Abgerundetes Rechteck 37">
              <a:extLst>
                <a:ext uri="{FF2B5EF4-FFF2-40B4-BE49-F238E27FC236}">
                  <a16:creationId xmlns:a16="http://schemas.microsoft.com/office/drawing/2014/main" id="{B8046BC0-980B-46C0-915E-1203BAB11565}"/>
                </a:ext>
              </a:extLst>
            </p:cNvPr>
            <p:cNvSpPr/>
            <p:nvPr/>
          </p:nvSpPr>
          <p:spPr>
            <a:xfrm rot="21336079">
              <a:off x="0" y="0"/>
              <a:ext cx="762000" cy="725170"/>
            </a:xfrm>
            <a:prstGeom prst="roundRect">
              <a:avLst>
                <a:gd name="adj" fmla="val 6177"/>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5" name="Grafik 34">
              <a:extLst>
                <a:ext uri="{FF2B5EF4-FFF2-40B4-BE49-F238E27FC236}">
                  <a16:creationId xmlns:a16="http://schemas.microsoft.com/office/drawing/2014/main" id="{52F66BE3-96B6-49CE-9BD1-2DD9A66AE8F7}"/>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rot="21289254">
              <a:off x="174694" y="28863"/>
              <a:ext cx="412609" cy="675640"/>
            </a:xfrm>
            <a:prstGeom prst="rect">
              <a:avLst/>
            </a:prstGeom>
          </p:spPr>
        </p:pic>
      </p:grpSp>
      <p:grpSp>
        <p:nvGrpSpPr>
          <p:cNvPr id="36" name="Gruppieren 35">
            <a:extLst>
              <a:ext uri="{FF2B5EF4-FFF2-40B4-BE49-F238E27FC236}">
                <a16:creationId xmlns:a16="http://schemas.microsoft.com/office/drawing/2014/main" id="{0DF5953A-5DD8-4093-9194-304D1288B232}"/>
              </a:ext>
            </a:extLst>
          </p:cNvPr>
          <p:cNvGrpSpPr/>
          <p:nvPr/>
        </p:nvGrpSpPr>
        <p:grpSpPr>
          <a:xfrm rot="251834">
            <a:off x="203827" y="1258852"/>
            <a:ext cx="946150" cy="900430"/>
            <a:chOff x="0" y="0"/>
            <a:chExt cx="1131823" cy="1077514"/>
          </a:xfrm>
        </p:grpSpPr>
        <p:sp>
          <p:nvSpPr>
            <p:cNvPr id="37" name="Abgerundetes Rechteck 17">
              <a:extLst>
                <a:ext uri="{FF2B5EF4-FFF2-40B4-BE49-F238E27FC236}">
                  <a16:creationId xmlns:a16="http://schemas.microsoft.com/office/drawing/2014/main" id="{01542578-1B51-464F-943E-4C001AA618F9}"/>
                </a:ext>
              </a:extLst>
            </p:cNvPr>
            <p:cNvSpPr/>
            <p:nvPr/>
          </p:nvSpPr>
          <p:spPr>
            <a:xfrm rot="21084245">
              <a:off x="0" y="0"/>
              <a:ext cx="1131823" cy="1077514"/>
            </a:xfrm>
            <a:prstGeom prst="roundRect">
              <a:avLst>
                <a:gd name="adj" fmla="val 6177"/>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8" name="Grafik 37">
              <a:extLst>
                <a:ext uri="{FF2B5EF4-FFF2-40B4-BE49-F238E27FC236}">
                  <a16:creationId xmlns:a16="http://schemas.microsoft.com/office/drawing/2014/main" id="{1A90E11B-5A48-43A7-BABB-DAD5CABB7670}"/>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bwMode="auto">
            <a:xfrm rot="21069632">
              <a:off x="97835" y="139022"/>
              <a:ext cx="945099" cy="849642"/>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2721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3175" y="3485562"/>
            <a:ext cx="12188824" cy="3429000"/>
          </a:xfrm>
        </p:spPr>
        <p:txBody>
          <a:bodyPr/>
          <a:lstStyle/>
          <a:p>
            <a:pPr>
              <a:lnSpc>
                <a:spcPct val="95000"/>
              </a:lnSpc>
              <a:spcBef>
                <a:spcPts val="1200"/>
              </a:spcBef>
            </a:pPr>
            <a:br>
              <a:rPr lang="en-US" sz="4000" dirty="0"/>
            </a:br>
            <a:endParaRPr lang="en-US" dirty="0"/>
          </a:p>
        </p:txBody>
      </p:sp>
      <p:sp>
        <p:nvSpPr>
          <p:cNvPr id="9" name="Untertitel 5">
            <a:extLst>
              <a:ext uri="{FF2B5EF4-FFF2-40B4-BE49-F238E27FC236}">
                <a16:creationId xmlns:a16="http://schemas.microsoft.com/office/drawing/2014/main" id="{C98F1218-93DB-2947-9521-A7645DD493AE}"/>
              </a:ext>
            </a:extLst>
          </p:cNvPr>
          <p:cNvSpPr>
            <a:spLocks noGrp="1"/>
          </p:cNvSpPr>
          <p:nvPr>
            <p:ph type="subTitle" idx="1"/>
          </p:nvPr>
        </p:nvSpPr>
        <p:spPr>
          <a:xfrm>
            <a:off x="555097" y="4928976"/>
            <a:ext cx="6282814" cy="1613125"/>
          </a:xfrm>
        </p:spPr>
        <p:txBody>
          <a:bodyPr/>
          <a:lstStyle/>
          <a:p>
            <a:pPr>
              <a:spcBef>
                <a:spcPts val="0"/>
              </a:spcBef>
            </a:pPr>
            <a:r>
              <a:rPr lang="en-US" sz="2200" dirty="0" err="1"/>
              <a:t>Vorbereitung</a:t>
            </a:r>
            <a:r>
              <a:rPr lang="en-US" sz="2200" dirty="0"/>
              <a:t> </a:t>
            </a:r>
            <a:r>
              <a:rPr lang="en-US" sz="2200" dirty="0" err="1"/>
              <a:t>Klassenbesuch</a:t>
            </a:r>
            <a:endParaRPr lang="en-US" sz="2200" dirty="0"/>
          </a:p>
          <a:p>
            <a:r>
              <a:rPr lang="en-US" sz="1600" dirty="0"/>
              <a:t>RDZ / </a:t>
            </a:r>
            <a:r>
              <a:rPr lang="en-US" sz="1600" dirty="0" err="1"/>
              <a:t>Pädagogische</a:t>
            </a:r>
            <a:r>
              <a:rPr lang="en-US" sz="1600" dirty="0"/>
              <a:t> Hochschule </a:t>
            </a:r>
            <a:r>
              <a:rPr lang="en-US" sz="1600" dirty="0" err="1"/>
              <a:t>St.Gallen</a:t>
            </a:r>
            <a:endParaRPr lang="en-US" sz="1600" dirty="0"/>
          </a:p>
        </p:txBody>
      </p:sp>
      <p:sp>
        <p:nvSpPr>
          <p:cNvPr id="18" name="Textfeld 17">
            <a:extLst>
              <a:ext uri="{FF2B5EF4-FFF2-40B4-BE49-F238E27FC236}">
                <a16:creationId xmlns:a16="http://schemas.microsoft.com/office/drawing/2014/main" id="{2690CFDC-D30C-DC44-BDD2-8D67F8031E97}"/>
              </a:ext>
            </a:extLst>
          </p:cNvPr>
          <p:cNvSpPr txBox="1"/>
          <p:nvPr/>
        </p:nvSpPr>
        <p:spPr>
          <a:xfrm>
            <a:off x="412831" y="3209495"/>
            <a:ext cx="5683169" cy="123111"/>
          </a:xfrm>
          <a:prstGeom prst="rect">
            <a:avLst/>
          </a:prstGeom>
          <a:noFill/>
        </p:spPr>
        <p:txBody>
          <a:bodyPr wrap="square" lIns="0" tIns="0" rIns="0" bIns="0" rtlCol="0">
            <a:spAutoFit/>
          </a:bodyPr>
          <a:lstStyle/>
          <a:p>
            <a:r>
              <a:rPr lang="de-CH" sz="800" i="1" dirty="0">
                <a:solidFill>
                  <a:schemeClr val="bg1">
                    <a:lumMod val="95000"/>
                  </a:schemeClr>
                </a:solidFill>
              </a:rPr>
              <a:t>Bild: https://</a:t>
            </a:r>
            <a:r>
              <a:rPr lang="de-CH" sz="800" i="1" dirty="0" err="1">
                <a:solidFill>
                  <a:schemeClr val="bg1">
                    <a:lumMod val="95000"/>
                  </a:schemeClr>
                </a:solidFill>
              </a:rPr>
              <a:t>blog.magenta.at</a:t>
            </a:r>
            <a:r>
              <a:rPr lang="de-CH" sz="800" i="1" dirty="0">
                <a:solidFill>
                  <a:schemeClr val="bg1">
                    <a:lumMod val="95000"/>
                  </a:schemeClr>
                </a:solidFill>
              </a:rPr>
              <a:t>/2018/12/11/robo-wunderkind-2/robo-wunderkind-2/</a:t>
            </a:r>
          </a:p>
        </p:txBody>
      </p:sp>
      <p:sp>
        <p:nvSpPr>
          <p:cNvPr id="20" name="Untertitel 5">
            <a:extLst>
              <a:ext uri="{FF2B5EF4-FFF2-40B4-BE49-F238E27FC236}">
                <a16:creationId xmlns:a16="http://schemas.microsoft.com/office/drawing/2014/main" id="{BA3E5147-7F01-F940-817A-67ABDAC1C801}"/>
              </a:ext>
            </a:extLst>
          </p:cNvPr>
          <p:cNvSpPr txBox="1">
            <a:spLocks/>
          </p:cNvSpPr>
          <p:nvPr/>
        </p:nvSpPr>
        <p:spPr>
          <a:xfrm>
            <a:off x="550863" y="4238222"/>
            <a:ext cx="6282814" cy="346574"/>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Clr>
                <a:schemeClr val="accent1"/>
              </a:buClr>
              <a:buFont typeface="Arial" panose="020B0604020202020204" pitchFamily="34" charset="0"/>
              <a:buNone/>
              <a:defRPr sz="2400" kern="1200">
                <a:solidFill>
                  <a:schemeClr val="bg1"/>
                </a:solidFill>
                <a:latin typeface="+mn-lt"/>
                <a:ea typeface="+mn-ea"/>
                <a:cs typeface="+mn-cs"/>
              </a:defRPr>
            </a:lvl1pPr>
            <a:lvl2pPr marL="457200" indent="0" algn="ctr" defTabSz="914400" rtl="0" eaLnBrk="1" latinLnBrk="0" hangingPunct="1">
              <a:lnSpc>
                <a:spcPct val="100000"/>
              </a:lnSpc>
              <a:spcBef>
                <a:spcPts val="6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Symbol" panose="05050102010706020507" pitchFamily="18" charset="2"/>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6pPr>
            <a:lvl7pPr marL="27432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7pPr>
            <a:lvl8pPr marL="32004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8pPr>
            <a:lvl9pPr marL="3657600" indent="0" algn="ctr" defTabSz="914400" rtl="0" eaLnBrk="1" latinLnBrk="0" hangingPunct="1">
              <a:lnSpc>
                <a:spcPct val="100000"/>
              </a:lnSpc>
              <a:spcBef>
                <a:spcPts val="0"/>
              </a:spcBef>
              <a:buFont typeface="Symbol" panose="05050102010706020507" pitchFamily="18" charset="2"/>
              <a:buNone/>
              <a:defRPr sz="1600" kern="1200">
                <a:solidFill>
                  <a:schemeClr val="tx1"/>
                </a:solidFill>
                <a:latin typeface="+mn-lt"/>
                <a:ea typeface="+mn-ea"/>
                <a:cs typeface="+mn-cs"/>
              </a:defRPr>
            </a:lvl9pPr>
          </a:lstStyle>
          <a:p>
            <a:pPr>
              <a:spcBef>
                <a:spcPts val="0"/>
              </a:spcBef>
            </a:pPr>
            <a:r>
              <a:rPr lang="en-US" sz="3200" b="1" dirty="0" err="1"/>
              <a:t>Binärzahlen</a:t>
            </a:r>
            <a:endParaRPr lang="en-US" sz="3200" b="1" dirty="0"/>
          </a:p>
        </p:txBody>
      </p:sp>
      <p:pic>
        <p:nvPicPr>
          <p:cNvPr id="28" name="Bildplatzhalter 27" descr="Ein Bild, das Gebäude, draußen, groß, sitzend enthält.&#10;&#10;Automatisch generierte Beschreibung">
            <a:extLst>
              <a:ext uri="{FF2B5EF4-FFF2-40B4-BE49-F238E27FC236}">
                <a16:creationId xmlns:a16="http://schemas.microsoft.com/office/drawing/2014/main" id="{8966CE4B-BA2F-47BB-96FA-B8CB812A02C1}"/>
              </a:ext>
            </a:extLst>
          </p:cNvPr>
          <p:cNvPicPr>
            <a:picLocks noGrp="1" noChangeAspect="1"/>
          </p:cNvPicPr>
          <p:nvPr>
            <p:ph type="pic" sz="quarter" idx="10"/>
          </p:nvPr>
        </p:nvPicPr>
        <p:blipFill>
          <a:blip r:embed="rId3" cstate="hqprint">
            <a:extLst>
              <a:ext uri="{28A0092B-C50C-407E-A947-70E740481C1C}">
                <a14:useLocalDpi xmlns:a14="http://schemas.microsoft.com/office/drawing/2010/main"/>
              </a:ext>
            </a:extLst>
          </a:blip>
          <a:srcRect/>
          <a:stretch>
            <a:fillRect/>
          </a:stretch>
        </p:blipFill>
        <p:spPr>
          <a:xfrm>
            <a:off x="0" y="11837"/>
            <a:ext cx="12192000" cy="3498625"/>
          </a:xfrm>
        </p:spPr>
      </p:pic>
      <p:sp>
        <p:nvSpPr>
          <p:cNvPr id="29" name="Richtungspfeil 1">
            <a:extLst>
              <a:ext uri="{FF2B5EF4-FFF2-40B4-BE49-F238E27FC236}">
                <a16:creationId xmlns:a16="http://schemas.microsoft.com/office/drawing/2014/main" id="{1FA19ACA-053E-4B97-8FC2-290F54A19D28}"/>
              </a:ext>
            </a:extLst>
          </p:cNvPr>
          <p:cNvSpPr/>
          <p:nvPr/>
        </p:nvSpPr>
        <p:spPr>
          <a:xfrm>
            <a:off x="-4900" y="1132799"/>
            <a:ext cx="2540681" cy="1123055"/>
          </a:xfrm>
          <a:prstGeom prst="homePlate">
            <a:avLst>
              <a:gd name="adj" fmla="val 17760"/>
            </a:avLst>
          </a:prstGeom>
          <a:solidFill>
            <a:schemeClr val="bg2"/>
          </a:solidFill>
          <a:ln w="12700">
            <a:solidFill>
              <a:srgbClr val="42586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grpSp>
        <p:nvGrpSpPr>
          <p:cNvPr id="33" name="Gruppieren 32">
            <a:extLst>
              <a:ext uri="{FF2B5EF4-FFF2-40B4-BE49-F238E27FC236}">
                <a16:creationId xmlns:a16="http://schemas.microsoft.com/office/drawing/2014/main" id="{721F44B0-5EC3-4A5F-8CF6-E61A275A1BAF}"/>
              </a:ext>
            </a:extLst>
          </p:cNvPr>
          <p:cNvGrpSpPr/>
          <p:nvPr/>
        </p:nvGrpSpPr>
        <p:grpSpPr>
          <a:xfrm>
            <a:off x="1321412" y="1244111"/>
            <a:ext cx="946150" cy="900430"/>
            <a:chOff x="0" y="0"/>
            <a:chExt cx="762000" cy="725170"/>
          </a:xfrm>
        </p:grpSpPr>
        <p:sp>
          <p:nvSpPr>
            <p:cNvPr id="34" name="Abgerundetes Rechteck 37">
              <a:extLst>
                <a:ext uri="{FF2B5EF4-FFF2-40B4-BE49-F238E27FC236}">
                  <a16:creationId xmlns:a16="http://schemas.microsoft.com/office/drawing/2014/main" id="{B8046BC0-980B-46C0-915E-1203BAB11565}"/>
                </a:ext>
              </a:extLst>
            </p:cNvPr>
            <p:cNvSpPr/>
            <p:nvPr/>
          </p:nvSpPr>
          <p:spPr>
            <a:xfrm rot="21336079">
              <a:off x="0" y="0"/>
              <a:ext cx="762000" cy="725170"/>
            </a:xfrm>
            <a:prstGeom prst="roundRect">
              <a:avLst>
                <a:gd name="adj" fmla="val 6177"/>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5" name="Grafik 34">
              <a:extLst>
                <a:ext uri="{FF2B5EF4-FFF2-40B4-BE49-F238E27FC236}">
                  <a16:creationId xmlns:a16="http://schemas.microsoft.com/office/drawing/2014/main" id="{52F66BE3-96B6-49CE-9BD1-2DD9A66AE8F7}"/>
                </a:ext>
              </a:extLst>
            </p:cNvPr>
            <p:cNvPicPr>
              <a:picLocks noChangeAspect="1"/>
            </p:cNvPicPr>
            <p:nvPr/>
          </p:nvPicPr>
          <p:blipFill>
            <a:blip r:embed="rId4" cstate="hqprint">
              <a:extLst>
                <a:ext uri="{28A0092B-C50C-407E-A947-70E740481C1C}">
                  <a14:useLocalDpi xmlns:a14="http://schemas.microsoft.com/office/drawing/2010/main"/>
                </a:ext>
              </a:extLst>
            </a:blip>
            <a:srcRect/>
            <a:stretch/>
          </p:blipFill>
          <p:spPr>
            <a:xfrm rot="21289254">
              <a:off x="174694" y="28863"/>
              <a:ext cx="412609" cy="675640"/>
            </a:xfrm>
            <a:prstGeom prst="rect">
              <a:avLst/>
            </a:prstGeom>
          </p:spPr>
        </p:pic>
      </p:grpSp>
      <p:grpSp>
        <p:nvGrpSpPr>
          <p:cNvPr id="36" name="Gruppieren 35">
            <a:extLst>
              <a:ext uri="{FF2B5EF4-FFF2-40B4-BE49-F238E27FC236}">
                <a16:creationId xmlns:a16="http://schemas.microsoft.com/office/drawing/2014/main" id="{0DF5953A-5DD8-4093-9194-304D1288B232}"/>
              </a:ext>
            </a:extLst>
          </p:cNvPr>
          <p:cNvGrpSpPr/>
          <p:nvPr/>
        </p:nvGrpSpPr>
        <p:grpSpPr>
          <a:xfrm rot="251834">
            <a:off x="203827" y="1258852"/>
            <a:ext cx="946150" cy="900430"/>
            <a:chOff x="0" y="0"/>
            <a:chExt cx="1131823" cy="1077514"/>
          </a:xfrm>
        </p:grpSpPr>
        <p:sp>
          <p:nvSpPr>
            <p:cNvPr id="37" name="Abgerundetes Rechteck 17">
              <a:extLst>
                <a:ext uri="{FF2B5EF4-FFF2-40B4-BE49-F238E27FC236}">
                  <a16:creationId xmlns:a16="http://schemas.microsoft.com/office/drawing/2014/main" id="{01542578-1B51-464F-943E-4C001AA618F9}"/>
                </a:ext>
              </a:extLst>
            </p:cNvPr>
            <p:cNvSpPr/>
            <p:nvPr/>
          </p:nvSpPr>
          <p:spPr>
            <a:xfrm rot="21084245">
              <a:off x="0" y="0"/>
              <a:ext cx="1131823" cy="1077514"/>
            </a:xfrm>
            <a:prstGeom prst="roundRect">
              <a:avLst>
                <a:gd name="adj" fmla="val 6177"/>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8" name="Grafik 37">
              <a:extLst>
                <a:ext uri="{FF2B5EF4-FFF2-40B4-BE49-F238E27FC236}">
                  <a16:creationId xmlns:a16="http://schemas.microsoft.com/office/drawing/2014/main" id="{1A90E11B-5A48-43A7-BABB-DAD5CABB7670}"/>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bwMode="auto">
            <a:xfrm rot="21069632">
              <a:off x="97835" y="139022"/>
              <a:ext cx="945099" cy="849642"/>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8175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inäre Zahlen - Vorbereitung</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802307"/>
            <a:ext cx="9219414" cy="1477328"/>
          </a:xfrm>
          <a:prstGeom prst="rect">
            <a:avLst/>
          </a:prstGeom>
          <a:noFill/>
        </p:spPr>
        <p:txBody>
          <a:bodyPr wrap="square" lIns="0" tIns="0" rIns="0" bIns="0" rtlCol="0">
            <a:spAutoFit/>
          </a:bodyPr>
          <a:lstStyle/>
          <a:p>
            <a:r>
              <a:rPr lang="de-DE" sz="2400" b="1" dirty="0"/>
              <a:t>Schneidet die Karten aus und legt sie mit den Punkten nach oben vor euch hin. </a:t>
            </a:r>
            <a:br>
              <a:rPr lang="de-DE" sz="2400" b="1" dirty="0"/>
            </a:br>
            <a:br>
              <a:rPr lang="de-DE" sz="2400" b="1" dirty="0"/>
            </a:br>
            <a:r>
              <a:rPr lang="de-DE" sz="2400" b="1" dirty="0"/>
              <a:t>Die 16-Punkt Karte muss rechts liegen.</a:t>
            </a:r>
          </a:p>
        </p:txBody>
      </p:sp>
      <p:sp>
        <p:nvSpPr>
          <p:cNvPr id="7" name="Textplatzhalter 2">
            <a:extLst>
              <a:ext uri="{FF2B5EF4-FFF2-40B4-BE49-F238E27FC236}">
                <a16:creationId xmlns:a16="http://schemas.microsoft.com/office/drawing/2014/main" id="{DC629D2C-1C55-41FA-A95E-AE63902BE89F}"/>
              </a:ext>
            </a:extLst>
          </p:cNvPr>
          <p:cNvSpPr txBox="1">
            <a:spLocks/>
          </p:cNvSpPr>
          <p:nvPr/>
        </p:nvSpPr>
        <p:spPr>
          <a:xfrm>
            <a:off x="550863" y="6577137"/>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solidFill>
                  <a:schemeClr val="tx1">
                    <a:lumMod val="75000"/>
                    <a:lumOff val="25000"/>
                  </a:schemeClr>
                </a:solidFill>
              </a:rPr>
              <a:t>https://csunplugged.org/de/</a:t>
            </a:r>
            <a:endParaRPr lang="de-CH" dirty="0"/>
          </a:p>
        </p:txBody>
      </p:sp>
      <p:pic>
        <p:nvPicPr>
          <p:cNvPr id="10" name="Grafik 9">
            <a:extLst>
              <a:ext uri="{FF2B5EF4-FFF2-40B4-BE49-F238E27FC236}">
                <a16:creationId xmlns:a16="http://schemas.microsoft.com/office/drawing/2014/main" id="{289A7E00-0E91-4A7F-ABB1-55D67DE47F8A}"/>
              </a:ext>
            </a:extLst>
          </p:cNvPr>
          <p:cNvPicPr>
            <a:picLocks noChangeAspect="1"/>
          </p:cNvPicPr>
          <p:nvPr/>
        </p:nvPicPr>
        <p:blipFill>
          <a:blip r:embed="rId3"/>
          <a:stretch>
            <a:fillRect/>
          </a:stretch>
        </p:blipFill>
        <p:spPr>
          <a:xfrm>
            <a:off x="2265870" y="3705578"/>
            <a:ext cx="6038850" cy="2266950"/>
          </a:xfrm>
          <a:prstGeom prst="rect">
            <a:avLst/>
          </a:prstGeom>
        </p:spPr>
      </p:pic>
    </p:spTree>
    <p:extLst>
      <p:ext uri="{BB962C8B-B14F-4D97-AF65-F5344CB8AC3E}">
        <p14:creationId xmlns:p14="http://schemas.microsoft.com/office/powerpoint/2010/main" val="9340621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inäre Zahlen</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802307"/>
            <a:ext cx="9219414" cy="369332"/>
          </a:xfrm>
          <a:prstGeom prst="rect">
            <a:avLst/>
          </a:prstGeom>
          <a:noFill/>
        </p:spPr>
        <p:txBody>
          <a:bodyPr wrap="square" lIns="0" tIns="0" rIns="0" bIns="0" rtlCol="0">
            <a:spAutoFit/>
          </a:bodyPr>
          <a:lstStyle/>
          <a:p>
            <a:r>
              <a:rPr lang="de-DE" sz="2400" b="1" dirty="0"/>
              <a:t>Wie verändert sich die Anzahl Punkte auf einer der Karten?</a:t>
            </a:r>
          </a:p>
        </p:txBody>
      </p:sp>
      <p:sp>
        <p:nvSpPr>
          <p:cNvPr id="6" name="Textfeld 5">
            <a:extLst>
              <a:ext uri="{FF2B5EF4-FFF2-40B4-BE49-F238E27FC236}">
                <a16:creationId xmlns:a16="http://schemas.microsoft.com/office/drawing/2014/main" id="{F67CE500-EFEA-4EA7-A75D-EE1414F798E6}"/>
              </a:ext>
            </a:extLst>
          </p:cNvPr>
          <p:cNvSpPr txBox="1"/>
          <p:nvPr/>
        </p:nvSpPr>
        <p:spPr>
          <a:xfrm>
            <a:off x="550863" y="4952889"/>
            <a:ext cx="9204669" cy="738664"/>
          </a:xfrm>
          <a:prstGeom prst="rect">
            <a:avLst/>
          </a:prstGeom>
          <a:noFill/>
        </p:spPr>
        <p:txBody>
          <a:bodyPr wrap="square" lIns="0" tIns="0" rIns="0" bIns="0" rtlCol="0">
            <a:spAutoFit/>
          </a:bodyPr>
          <a:lstStyle/>
          <a:p>
            <a:r>
              <a:rPr lang="de-DE" sz="2400" b="1" dirty="0"/>
              <a:t>Wie viele Punkte müsste die nächste Karte haben, wenn die Reihe nach links fortgesetzt wird?</a:t>
            </a:r>
          </a:p>
        </p:txBody>
      </p:sp>
      <p:sp>
        <p:nvSpPr>
          <p:cNvPr id="7" name="Textplatzhalter 2">
            <a:extLst>
              <a:ext uri="{FF2B5EF4-FFF2-40B4-BE49-F238E27FC236}">
                <a16:creationId xmlns:a16="http://schemas.microsoft.com/office/drawing/2014/main" id="{DC629D2C-1C55-41FA-A95E-AE63902BE89F}"/>
              </a:ext>
            </a:extLst>
          </p:cNvPr>
          <p:cNvSpPr txBox="1">
            <a:spLocks/>
          </p:cNvSpPr>
          <p:nvPr/>
        </p:nvSpPr>
        <p:spPr>
          <a:xfrm>
            <a:off x="550863" y="6577137"/>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solidFill>
                  <a:schemeClr val="tx1">
                    <a:lumMod val="75000"/>
                    <a:lumOff val="25000"/>
                  </a:schemeClr>
                </a:solidFill>
              </a:rPr>
              <a:t>https://csunplugged.org/de/</a:t>
            </a:r>
            <a:endParaRPr lang="de-CH" dirty="0"/>
          </a:p>
        </p:txBody>
      </p:sp>
      <p:pic>
        <p:nvPicPr>
          <p:cNvPr id="4" name="Grafik 3">
            <a:extLst>
              <a:ext uri="{FF2B5EF4-FFF2-40B4-BE49-F238E27FC236}">
                <a16:creationId xmlns:a16="http://schemas.microsoft.com/office/drawing/2014/main" id="{1DDA7212-5900-48BC-8EF1-BCD124622B46}"/>
              </a:ext>
            </a:extLst>
          </p:cNvPr>
          <p:cNvPicPr>
            <a:picLocks noChangeAspect="1"/>
          </p:cNvPicPr>
          <p:nvPr/>
        </p:nvPicPr>
        <p:blipFill>
          <a:blip r:embed="rId3"/>
          <a:stretch>
            <a:fillRect/>
          </a:stretch>
        </p:blipFill>
        <p:spPr>
          <a:xfrm>
            <a:off x="2226443" y="2809789"/>
            <a:ext cx="5457825" cy="1504950"/>
          </a:xfrm>
          <a:prstGeom prst="rect">
            <a:avLst/>
          </a:prstGeom>
        </p:spPr>
      </p:pic>
    </p:spTree>
    <p:extLst>
      <p:ext uri="{BB962C8B-B14F-4D97-AF65-F5344CB8AC3E}">
        <p14:creationId xmlns:p14="http://schemas.microsoft.com/office/powerpoint/2010/main" val="1457851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inäre Zahlen</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802307"/>
            <a:ext cx="9219414" cy="738664"/>
          </a:xfrm>
          <a:prstGeom prst="rect">
            <a:avLst/>
          </a:prstGeom>
          <a:noFill/>
        </p:spPr>
        <p:txBody>
          <a:bodyPr wrap="square" lIns="0" tIns="0" rIns="0" bIns="0" rtlCol="0">
            <a:spAutoFit/>
          </a:bodyPr>
          <a:lstStyle/>
          <a:p>
            <a:r>
              <a:rPr lang="de-DE" sz="2400" b="1" dirty="0"/>
              <a:t>Drehe so viele Karten um, dass genau 5 Punkte sichtbar sind?</a:t>
            </a:r>
          </a:p>
          <a:p>
            <a:r>
              <a:rPr lang="de-DE" sz="2400" dirty="0"/>
              <a:t>-&gt; Achtung: Platz der Karten nicht vertauschen</a:t>
            </a:r>
          </a:p>
        </p:txBody>
      </p:sp>
      <p:sp>
        <p:nvSpPr>
          <p:cNvPr id="6" name="Textfeld 5">
            <a:extLst>
              <a:ext uri="{FF2B5EF4-FFF2-40B4-BE49-F238E27FC236}">
                <a16:creationId xmlns:a16="http://schemas.microsoft.com/office/drawing/2014/main" id="{F67CE500-EFEA-4EA7-A75D-EE1414F798E6}"/>
              </a:ext>
            </a:extLst>
          </p:cNvPr>
          <p:cNvSpPr txBox="1"/>
          <p:nvPr/>
        </p:nvSpPr>
        <p:spPr>
          <a:xfrm>
            <a:off x="550863" y="5245163"/>
            <a:ext cx="9204669" cy="369332"/>
          </a:xfrm>
          <a:prstGeom prst="rect">
            <a:avLst/>
          </a:prstGeom>
          <a:noFill/>
        </p:spPr>
        <p:txBody>
          <a:bodyPr wrap="square" lIns="0" tIns="0" rIns="0" bIns="0" rtlCol="0">
            <a:spAutoFit/>
          </a:bodyPr>
          <a:lstStyle/>
          <a:p>
            <a:r>
              <a:rPr lang="de-DE" sz="2400" b="1" dirty="0"/>
              <a:t>Gibt es mehr als eine Möglichkeit?</a:t>
            </a:r>
          </a:p>
        </p:txBody>
      </p:sp>
      <p:sp>
        <p:nvSpPr>
          <p:cNvPr id="7" name="Textplatzhalter 2">
            <a:extLst>
              <a:ext uri="{FF2B5EF4-FFF2-40B4-BE49-F238E27FC236}">
                <a16:creationId xmlns:a16="http://schemas.microsoft.com/office/drawing/2014/main" id="{DC629D2C-1C55-41FA-A95E-AE63902BE89F}"/>
              </a:ext>
            </a:extLst>
          </p:cNvPr>
          <p:cNvSpPr txBox="1">
            <a:spLocks/>
          </p:cNvSpPr>
          <p:nvPr/>
        </p:nvSpPr>
        <p:spPr>
          <a:xfrm>
            <a:off x="550863" y="6577137"/>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solidFill>
                  <a:schemeClr val="tx1">
                    <a:lumMod val="75000"/>
                    <a:lumOff val="25000"/>
                  </a:schemeClr>
                </a:solidFill>
              </a:rPr>
              <a:t>https://csunplugged.org/de/</a:t>
            </a:r>
            <a:endParaRPr lang="de-CH" dirty="0"/>
          </a:p>
        </p:txBody>
      </p:sp>
      <p:pic>
        <p:nvPicPr>
          <p:cNvPr id="3" name="Grafik 2">
            <a:extLst>
              <a:ext uri="{FF2B5EF4-FFF2-40B4-BE49-F238E27FC236}">
                <a16:creationId xmlns:a16="http://schemas.microsoft.com/office/drawing/2014/main" id="{6087FCF2-69E5-4F2C-9F95-703705A95A3D}"/>
              </a:ext>
            </a:extLst>
          </p:cNvPr>
          <p:cNvPicPr>
            <a:picLocks noChangeAspect="1"/>
          </p:cNvPicPr>
          <p:nvPr/>
        </p:nvPicPr>
        <p:blipFill>
          <a:blip r:embed="rId3"/>
          <a:stretch>
            <a:fillRect/>
          </a:stretch>
        </p:blipFill>
        <p:spPr>
          <a:xfrm>
            <a:off x="6695338" y="2762495"/>
            <a:ext cx="5343525" cy="2247900"/>
          </a:xfrm>
          <a:prstGeom prst="rect">
            <a:avLst/>
          </a:prstGeom>
        </p:spPr>
      </p:pic>
    </p:spTree>
    <p:extLst>
      <p:ext uri="{BB962C8B-B14F-4D97-AF65-F5344CB8AC3E}">
        <p14:creationId xmlns:p14="http://schemas.microsoft.com/office/powerpoint/2010/main" val="27584715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inäre Zahlen</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802307"/>
            <a:ext cx="10619900" cy="2954655"/>
          </a:xfrm>
          <a:prstGeom prst="rect">
            <a:avLst/>
          </a:prstGeom>
          <a:noFill/>
        </p:spPr>
        <p:txBody>
          <a:bodyPr wrap="square" lIns="0" tIns="0" rIns="0" bIns="0" rtlCol="0">
            <a:spAutoFit/>
          </a:bodyPr>
          <a:lstStyle/>
          <a:p>
            <a:r>
              <a:rPr lang="de-DE" sz="2400" b="1" dirty="0"/>
              <a:t>Versuche die Zahlen 3, 12 und 19 zu legen</a:t>
            </a:r>
            <a:endParaRPr lang="de-DE" sz="2400" dirty="0"/>
          </a:p>
          <a:p>
            <a:endParaRPr lang="de-DE" sz="2400" b="1" dirty="0"/>
          </a:p>
          <a:p>
            <a:r>
              <a:rPr lang="de-DE" sz="2400" b="1" dirty="0"/>
              <a:t>Was ist die höchste darstellbare Zahl?</a:t>
            </a:r>
          </a:p>
          <a:p>
            <a:endParaRPr lang="de-DE" sz="2400" b="1" dirty="0"/>
          </a:p>
          <a:p>
            <a:r>
              <a:rPr lang="de-DE" sz="2400" b="1" dirty="0"/>
              <a:t>Was ist die kleinste darstellbare Zahl?</a:t>
            </a:r>
          </a:p>
          <a:p>
            <a:endParaRPr lang="de-DE" sz="2400" b="1" dirty="0"/>
          </a:p>
          <a:p>
            <a:r>
              <a:rPr lang="de-DE" sz="2400" b="1" dirty="0"/>
              <a:t>Gibt es eine Zahl zwischen der kleinsten und der </a:t>
            </a:r>
            <a:r>
              <a:rPr lang="de-DE" sz="2400" b="1" dirty="0" err="1"/>
              <a:t>grössten</a:t>
            </a:r>
            <a:r>
              <a:rPr lang="de-DE" sz="2400" b="1" dirty="0"/>
              <a:t>, die sich nicht darstellen lässt?</a:t>
            </a:r>
          </a:p>
        </p:txBody>
      </p:sp>
      <p:sp>
        <p:nvSpPr>
          <p:cNvPr id="7" name="Textplatzhalter 2">
            <a:extLst>
              <a:ext uri="{FF2B5EF4-FFF2-40B4-BE49-F238E27FC236}">
                <a16:creationId xmlns:a16="http://schemas.microsoft.com/office/drawing/2014/main" id="{DC629D2C-1C55-41FA-A95E-AE63902BE89F}"/>
              </a:ext>
            </a:extLst>
          </p:cNvPr>
          <p:cNvSpPr txBox="1">
            <a:spLocks/>
          </p:cNvSpPr>
          <p:nvPr/>
        </p:nvSpPr>
        <p:spPr>
          <a:xfrm>
            <a:off x="550863" y="6577137"/>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solidFill>
                  <a:schemeClr val="tx1">
                    <a:lumMod val="75000"/>
                    <a:lumOff val="25000"/>
                  </a:schemeClr>
                </a:solidFill>
              </a:rPr>
              <a:t>https://csunplugged.org/de/</a:t>
            </a:r>
            <a:endParaRPr lang="de-CH" dirty="0"/>
          </a:p>
        </p:txBody>
      </p:sp>
    </p:spTree>
    <p:extLst>
      <p:ext uri="{BB962C8B-B14F-4D97-AF65-F5344CB8AC3E}">
        <p14:creationId xmlns:p14="http://schemas.microsoft.com/office/powerpoint/2010/main" val="42405473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inäre Zahlen - </a:t>
            </a:r>
            <a:r>
              <a:rPr lang="de-CH" dirty="0" err="1"/>
              <a:t>VEreinbarung</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519503"/>
            <a:ext cx="10827290" cy="3323987"/>
          </a:xfrm>
          <a:prstGeom prst="rect">
            <a:avLst/>
          </a:prstGeom>
          <a:noFill/>
        </p:spPr>
        <p:txBody>
          <a:bodyPr wrap="square" lIns="0" tIns="0" rIns="0" bIns="0" rtlCol="0">
            <a:spAutoFit/>
          </a:bodyPr>
          <a:lstStyle/>
          <a:p>
            <a:r>
              <a:rPr lang="de-DE" sz="2400" b="1" dirty="0"/>
              <a:t>Mit Hilfe dieser Karten können wir binäre Zahlen darstellen. </a:t>
            </a:r>
          </a:p>
          <a:p>
            <a:pPr marL="457200" indent="-457200">
              <a:buFont typeface="+mj-lt"/>
              <a:buAutoNum type="arabicPeriod"/>
            </a:pPr>
            <a:endParaRPr lang="de-DE" sz="2400" b="1" dirty="0"/>
          </a:p>
          <a:p>
            <a:r>
              <a:rPr lang="de-DE" sz="2400" dirty="0"/>
              <a:t>- Karten sind auf- oder zugedeckt. </a:t>
            </a:r>
          </a:p>
          <a:p>
            <a:endParaRPr lang="de-DE" sz="2400" dirty="0"/>
          </a:p>
          <a:p>
            <a:r>
              <a:rPr lang="de-DE" sz="2400" dirty="0"/>
              <a:t>- Sieht man die Punkte auf der Karte, schreiben wir eine 1, ist die Karte umgedreht, sehen wir also nur die Rückseite, schreiben wir eine 0 </a:t>
            </a:r>
            <a:r>
              <a:rPr lang="de-DE" sz="2400" dirty="0">
                <a:solidFill>
                  <a:schemeClr val="accent5">
                    <a:lumMod val="75000"/>
                  </a:schemeClr>
                </a:solidFill>
              </a:rPr>
              <a:t>(Binärzahl).</a:t>
            </a:r>
          </a:p>
          <a:p>
            <a:pPr marL="457200" indent="-457200">
              <a:buFont typeface="+mj-lt"/>
              <a:buAutoNum type="arabicPeriod"/>
            </a:pPr>
            <a:endParaRPr lang="de-DE" sz="2400" dirty="0"/>
          </a:p>
          <a:p>
            <a:r>
              <a:rPr lang="de-DE" sz="2400" dirty="0"/>
              <a:t>- Die Punkte auf allen Karten, die offen liegen, werden addiert </a:t>
            </a:r>
            <a:r>
              <a:rPr lang="de-DE" sz="2400" dirty="0">
                <a:solidFill>
                  <a:schemeClr val="accent2">
                    <a:lumMod val="50000"/>
                  </a:schemeClr>
                </a:solidFill>
              </a:rPr>
              <a:t>(Dezimalzahl).</a:t>
            </a:r>
          </a:p>
          <a:p>
            <a:pPr marL="457200" indent="-457200">
              <a:buFont typeface="+mj-lt"/>
              <a:buAutoNum type="arabicPeriod"/>
            </a:pPr>
            <a:endParaRPr lang="de-DE" sz="2400" b="1" dirty="0"/>
          </a:p>
        </p:txBody>
      </p:sp>
      <p:sp>
        <p:nvSpPr>
          <p:cNvPr id="7" name="Textplatzhalter 2">
            <a:extLst>
              <a:ext uri="{FF2B5EF4-FFF2-40B4-BE49-F238E27FC236}">
                <a16:creationId xmlns:a16="http://schemas.microsoft.com/office/drawing/2014/main" id="{DC629D2C-1C55-41FA-A95E-AE63902BE89F}"/>
              </a:ext>
            </a:extLst>
          </p:cNvPr>
          <p:cNvSpPr txBox="1">
            <a:spLocks/>
          </p:cNvSpPr>
          <p:nvPr/>
        </p:nvSpPr>
        <p:spPr>
          <a:xfrm>
            <a:off x="550863" y="6577137"/>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solidFill>
                  <a:schemeClr val="tx1">
                    <a:lumMod val="75000"/>
                    <a:lumOff val="25000"/>
                  </a:schemeClr>
                </a:solidFill>
              </a:rPr>
              <a:t>https://csunplugged.org/de/</a:t>
            </a:r>
            <a:endParaRPr lang="de-CH" dirty="0"/>
          </a:p>
        </p:txBody>
      </p:sp>
      <p:pic>
        <p:nvPicPr>
          <p:cNvPr id="22" name="Grafik 21">
            <a:extLst>
              <a:ext uri="{FF2B5EF4-FFF2-40B4-BE49-F238E27FC236}">
                <a16:creationId xmlns:a16="http://schemas.microsoft.com/office/drawing/2014/main" id="{FE5B5E65-F134-41C0-9B74-26A411594626}"/>
              </a:ext>
            </a:extLst>
          </p:cNvPr>
          <p:cNvPicPr>
            <a:picLocks noChangeAspect="1"/>
          </p:cNvPicPr>
          <p:nvPr/>
        </p:nvPicPr>
        <p:blipFill>
          <a:blip r:embed="rId3"/>
          <a:stretch>
            <a:fillRect/>
          </a:stretch>
        </p:blipFill>
        <p:spPr>
          <a:xfrm>
            <a:off x="2060575" y="4762234"/>
            <a:ext cx="4267200" cy="1152525"/>
          </a:xfrm>
          <a:prstGeom prst="rect">
            <a:avLst/>
          </a:prstGeom>
        </p:spPr>
      </p:pic>
      <p:sp>
        <p:nvSpPr>
          <p:cNvPr id="23" name="Textfeld 22">
            <a:extLst>
              <a:ext uri="{FF2B5EF4-FFF2-40B4-BE49-F238E27FC236}">
                <a16:creationId xmlns:a16="http://schemas.microsoft.com/office/drawing/2014/main" id="{D15EDDB1-DC0D-4908-AC4F-C8BDEF8BC5CA}"/>
              </a:ext>
            </a:extLst>
          </p:cNvPr>
          <p:cNvSpPr txBox="1"/>
          <p:nvPr/>
        </p:nvSpPr>
        <p:spPr>
          <a:xfrm>
            <a:off x="6630856" y="5123052"/>
            <a:ext cx="3700921" cy="430887"/>
          </a:xfrm>
          <a:prstGeom prst="rect">
            <a:avLst/>
          </a:prstGeom>
          <a:noFill/>
        </p:spPr>
        <p:txBody>
          <a:bodyPr wrap="square" lIns="0" tIns="0" rIns="0" bIns="0" rtlCol="0">
            <a:spAutoFit/>
          </a:bodyPr>
          <a:lstStyle/>
          <a:p>
            <a:r>
              <a:rPr lang="de-DE" sz="2800" b="1" dirty="0">
                <a:solidFill>
                  <a:schemeClr val="accent2">
                    <a:lumMod val="50000"/>
                  </a:schemeClr>
                </a:solidFill>
              </a:rPr>
              <a:t>9 </a:t>
            </a:r>
            <a:r>
              <a:rPr lang="de-DE" sz="2000" b="1" dirty="0">
                <a:solidFill>
                  <a:schemeClr val="accent2">
                    <a:lumMod val="50000"/>
                  </a:schemeClr>
                </a:solidFill>
              </a:rPr>
              <a:t>(Dezimalzahl)</a:t>
            </a:r>
          </a:p>
        </p:txBody>
      </p:sp>
      <p:sp>
        <p:nvSpPr>
          <p:cNvPr id="24" name="Textfeld 23">
            <a:extLst>
              <a:ext uri="{FF2B5EF4-FFF2-40B4-BE49-F238E27FC236}">
                <a16:creationId xmlns:a16="http://schemas.microsoft.com/office/drawing/2014/main" id="{FDBC66BC-D40C-4858-B247-F4D55104E0CF}"/>
              </a:ext>
            </a:extLst>
          </p:cNvPr>
          <p:cNvSpPr txBox="1"/>
          <p:nvPr/>
        </p:nvSpPr>
        <p:spPr>
          <a:xfrm>
            <a:off x="2228686" y="5944986"/>
            <a:ext cx="3930977" cy="430887"/>
          </a:xfrm>
          <a:prstGeom prst="rect">
            <a:avLst/>
          </a:prstGeom>
          <a:noFill/>
        </p:spPr>
        <p:txBody>
          <a:bodyPr wrap="square" lIns="0" tIns="0" rIns="0" bIns="0" rtlCol="0">
            <a:spAutoFit/>
          </a:bodyPr>
          <a:lstStyle/>
          <a:p>
            <a:r>
              <a:rPr lang="de-DE" sz="2800" b="1" dirty="0">
                <a:solidFill>
                  <a:schemeClr val="accent5">
                    <a:lumMod val="75000"/>
                  </a:schemeClr>
                </a:solidFill>
              </a:rPr>
              <a:t>0	1	0	0	1</a:t>
            </a:r>
          </a:p>
        </p:txBody>
      </p:sp>
      <p:sp>
        <p:nvSpPr>
          <p:cNvPr id="26" name="Textfeld 25">
            <a:extLst>
              <a:ext uri="{FF2B5EF4-FFF2-40B4-BE49-F238E27FC236}">
                <a16:creationId xmlns:a16="http://schemas.microsoft.com/office/drawing/2014/main" id="{A278092F-0F80-410D-91AC-D5CA611DC7E2}"/>
              </a:ext>
            </a:extLst>
          </p:cNvPr>
          <p:cNvSpPr txBox="1"/>
          <p:nvPr/>
        </p:nvSpPr>
        <p:spPr>
          <a:xfrm>
            <a:off x="5812819" y="5949910"/>
            <a:ext cx="3930977" cy="430887"/>
          </a:xfrm>
          <a:prstGeom prst="rect">
            <a:avLst/>
          </a:prstGeom>
          <a:noFill/>
        </p:spPr>
        <p:txBody>
          <a:bodyPr wrap="square" lIns="0" tIns="0" rIns="0" bIns="0" rtlCol="0">
            <a:spAutoFit/>
          </a:bodyPr>
          <a:lstStyle/>
          <a:p>
            <a:r>
              <a:rPr lang="de-DE" sz="2800" b="1" dirty="0">
                <a:solidFill>
                  <a:schemeClr val="accent5">
                    <a:lumMod val="75000"/>
                  </a:schemeClr>
                </a:solidFill>
              </a:rPr>
              <a:t>	Binärzahl</a:t>
            </a:r>
          </a:p>
        </p:txBody>
      </p:sp>
    </p:spTree>
    <p:extLst>
      <p:ext uri="{BB962C8B-B14F-4D97-AF65-F5344CB8AC3E}">
        <p14:creationId xmlns:p14="http://schemas.microsoft.com/office/powerpoint/2010/main" val="34502475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inäre Zahlen </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4453559" y="2358225"/>
            <a:ext cx="3019425" cy="1477328"/>
          </a:xfrm>
          <a:prstGeom prst="rect">
            <a:avLst/>
          </a:prstGeom>
          <a:noFill/>
        </p:spPr>
        <p:txBody>
          <a:bodyPr wrap="square" lIns="0" tIns="0" rIns="0" bIns="0" rtlCol="0">
            <a:spAutoFit/>
          </a:bodyPr>
          <a:lstStyle/>
          <a:p>
            <a:r>
              <a:rPr lang="de-DE" sz="7200" b="1" dirty="0"/>
              <a:t>Zählen</a:t>
            </a:r>
          </a:p>
          <a:p>
            <a:pPr marL="457200" indent="-457200">
              <a:buFont typeface="+mj-lt"/>
              <a:buAutoNum type="arabicPeriod"/>
            </a:pPr>
            <a:endParaRPr lang="de-DE" sz="2400" b="1" dirty="0"/>
          </a:p>
        </p:txBody>
      </p:sp>
      <p:sp>
        <p:nvSpPr>
          <p:cNvPr id="7" name="Textplatzhalter 2">
            <a:extLst>
              <a:ext uri="{FF2B5EF4-FFF2-40B4-BE49-F238E27FC236}">
                <a16:creationId xmlns:a16="http://schemas.microsoft.com/office/drawing/2014/main" id="{DC629D2C-1C55-41FA-A95E-AE63902BE89F}"/>
              </a:ext>
            </a:extLst>
          </p:cNvPr>
          <p:cNvSpPr txBox="1">
            <a:spLocks/>
          </p:cNvSpPr>
          <p:nvPr/>
        </p:nvSpPr>
        <p:spPr>
          <a:xfrm>
            <a:off x="550863" y="6577137"/>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solidFill>
                  <a:schemeClr val="tx1">
                    <a:lumMod val="75000"/>
                    <a:lumOff val="25000"/>
                  </a:schemeClr>
                </a:solidFill>
              </a:rPr>
              <a:t>https://csunplugged.org/de/</a:t>
            </a:r>
            <a:endParaRPr lang="de-CH" dirty="0"/>
          </a:p>
        </p:txBody>
      </p:sp>
      <p:sp>
        <p:nvSpPr>
          <p:cNvPr id="9" name="Textfeld 8">
            <a:extLst>
              <a:ext uri="{FF2B5EF4-FFF2-40B4-BE49-F238E27FC236}">
                <a16:creationId xmlns:a16="http://schemas.microsoft.com/office/drawing/2014/main" id="{EBA0841B-1831-4CEF-A017-50CF95A14DDB}"/>
              </a:ext>
            </a:extLst>
          </p:cNvPr>
          <p:cNvSpPr txBox="1"/>
          <p:nvPr/>
        </p:nvSpPr>
        <p:spPr>
          <a:xfrm>
            <a:off x="634580" y="4817415"/>
            <a:ext cx="9387837" cy="800219"/>
          </a:xfrm>
          <a:prstGeom prst="rect">
            <a:avLst/>
          </a:prstGeom>
          <a:noFill/>
        </p:spPr>
        <p:txBody>
          <a:bodyPr wrap="square" lIns="0" tIns="0" rIns="0" bIns="0" rtlCol="0">
            <a:spAutoFit/>
          </a:bodyPr>
          <a:lstStyle/>
          <a:p>
            <a:r>
              <a:rPr lang="de-DE" sz="2800" b="1" dirty="0"/>
              <a:t>Erkennt ihr ein Muster im Wechsel der Zahlen?</a:t>
            </a:r>
          </a:p>
          <a:p>
            <a:endParaRPr lang="de-DE" sz="2400" b="1" dirty="0"/>
          </a:p>
        </p:txBody>
      </p:sp>
    </p:spTree>
    <p:extLst>
      <p:ext uri="{BB962C8B-B14F-4D97-AF65-F5344CB8AC3E}">
        <p14:creationId xmlns:p14="http://schemas.microsoft.com/office/powerpoint/2010/main" val="1368678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inäre Zahlen</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628920" y="1519503"/>
            <a:ext cx="10827290" cy="3693319"/>
          </a:xfrm>
          <a:prstGeom prst="rect">
            <a:avLst/>
          </a:prstGeom>
          <a:noFill/>
        </p:spPr>
        <p:txBody>
          <a:bodyPr wrap="square" lIns="0" tIns="0" rIns="0" bIns="0" rtlCol="0">
            <a:spAutoFit/>
          </a:bodyPr>
          <a:lstStyle/>
          <a:p>
            <a:r>
              <a:rPr lang="de-DE" sz="2400" dirty="0"/>
              <a:t>Schreibe deinen Geburtstag in Binärzahlen </a:t>
            </a:r>
          </a:p>
          <a:p>
            <a:endParaRPr lang="de-DE" sz="2400" dirty="0"/>
          </a:p>
          <a:p>
            <a:r>
              <a:rPr lang="de-DE" sz="2400" dirty="0"/>
              <a:t>Was passiert, wenn du eine gelegte Zahl mit 2 multiplizierst?</a:t>
            </a:r>
          </a:p>
          <a:p>
            <a:endParaRPr lang="de-DE" sz="2400" dirty="0"/>
          </a:p>
          <a:p>
            <a:r>
              <a:rPr lang="de-DE" sz="2400" dirty="0"/>
              <a:t>Wie viele Punkte wären auf einem 7. Kärtchen? Wie viele auf einem 8.Kärtchen, usw.?</a:t>
            </a:r>
          </a:p>
          <a:p>
            <a:endParaRPr lang="de-DE" sz="2400" dirty="0"/>
          </a:p>
          <a:p>
            <a:r>
              <a:rPr lang="de-DE" sz="2400" dirty="0"/>
              <a:t>Was haben alle geraden Zahlen gemeinsam? </a:t>
            </a:r>
          </a:p>
          <a:p>
            <a:r>
              <a:rPr lang="de-DE" sz="2400" dirty="0"/>
              <a:t>Was alle ungeraden?</a:t>
            </a:r>
          </a:p>
          <a:p>
            <a:endParaRPr lang="de-DE" sz="2400" dirty="0"/>
          </a:p>
        </p:txBody>
      </p:sp>
      <p:sp>
        <p:nvSpPr>
          <p:cNvPr id="7" name="Textplatzhalter 2">
            <a:extLst>
              <a:ext uri="{FF2B5EF4-FFF2-40B4-BE49-F238E27FC236}">
                <a16:creationId xmlns:a16="http://schemas.microsoft.com/office/drawing/2014/main" id="{DC629D2C-1C55-41FA-A95E-AE63902BE89F}"/>
              </a:ext>
            </a:extLst>
          </p:cNvPr>
          <p:cNvSpPr txBox="1">
            <a:spLocks/>
          </p:cNvSpPr>
          <p:nvPr/>
        </p:nvSpPr>
        <p:spPr>
          <a:xfrm>
            <a:off x="550863" y="6577137"/>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a:solidFill>
                  <a:schemeClr val="tx1">
                    <a:lumMod val="75000"/>
                    <a:lumOff val="25000"/>
                  </a:schemeClr>
                </a:solidFill>
              </a:rPr>
              <a:t>https://csunplugged.org/de/</a:t>
            </a:r>
            <a:endParaRPr lang="de-CH" dirty="0"/>
          </a:p>
        </p:txBody>
      </p:sp>
    </p:spTree>
    <p:extLst>
      <p:ext uri="{BB962C8B-B14F-4D97-AF65-F5344CB8AC3E}">
        <p14:creationId xmlns:p14="http://schemas.microsoft.com/office/powerpoint/2010/main" val="21761944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a:xfrm>
            <a:off x="473294" y="536843"/>
            <a:ext cx="9865617" cy="827088"/>
          </a:xfrm>
        </p:spPr>
        <p:txBody>
          <a:bodyPr/>
          <a:lstStyle/>
          <a:p>
            <a:r>
              <a:rPr lang="de-CH" dirty="0"/>
              <a:t> Besuch im Lernarrangement </a:t>
            </a:r>
            <a:r>
              <a:rPr lang="de-CH" dirty="0" err="1"/>
              <a:t>ANALOg</a:t>
            </a:r>
            <a:r>
              <a:rPr lang="de-CH" dirty="0"/>
              <a:t> - digital</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519503"/>
            <a:ext cx="10827290" cy="1846659"/>
          </a:xfrm>
          <a:prstGeom prst="rect">
            <a:avLst/>
          </a:prstGeom>
          <a:noFill/>
        </p:spPr>
        <p:txBody>
          <a:bodyPr wrap="square" lIns="0" tIns="0" rIns="0" bIns="0" rtlCol="0">
            <a:spAutoFit/>
          </a:bodyPr>
          <a:lstStyle/>
          <a:p>
            <a:r>
              <a:rPr lang="de-DE" sz="2400" dirty="0"/>
              <a:t>Was hat dies nun alles mit der Bahnhofsuhr in </a:t>
            </a:r>
            <a:r>
              <a:rPr lang="de-DE" sz="2400" dirty="0" err="1"/>
              <a:t>St.Gallen</a:t>
            </a:r>
            <a:r>
              <a:rPr lang="de-DE" sz="2400" dirty="0"/>
              <a:t> und den Fotos auf deinem Smartphone zu tun?</a:t>
            </a:r>
          </a:p>
          <a:p>
            <a:endParaRPr lang="de-DE" sz="2400" dirty="0"/>
          </a:p>
          <a:p>
            <a:r>
              <a:rPr lang="de-DE" sz="2400" dirty="0"/>
              <a:t>Dies erfährst du unter anderem an verschiedenen Lernangeboten im RDZ Rorschach.</a:t>
            </a:r>
          </a:p>
        </p:txBody>
      </p:sp>
      <p:pic>
        <p:nvPicPr>
          <p:cNvPr id="6" name="Grafik 5">
            <a:extLst>
              <a:ext uri="{FF2B5EF4-FFF2-40B4-BE49-F238E27FC236}">
                <a16:creationId xmlns:a16="http://schemas.microsoft.com/office/drawing/2014/main" id="{F5E1C687-0898-448A-B8DD-79B301DD717B}"/>
              </a:ext>
            </a:extLst>
          </p:cNvPr>
          <p:cNvPicPr/>
          <p:nvPr/>
        </p:nvPicPr>
        <p:blipFill>
          <a:blip r:embed="rId3"/>
          <a:stretch>
            <a:fillRect/>
          </a:stretch>
        </p:blipFill>
        <p:spPr>
          <a:xfrm rot="1038555">
            <a:off x="8594494" y="3626862"/>
            <a:ext cx="2803333" cy="2062245"/>
          </a:xfrm>
          <a:prstGeom prst="rect">
            <a:avLst/>
          </a:prstGeom>
        </p:spPr>
      </p:pic>
      <p:pic>
        <p:nvPicPr>
          <p:cNvPr id="4" name="Grafik 3" descr="Ein Bild, das Straße, draußen, Gebäude, Bus enthält.&#10;&#10;Automatisch generierte Beschreibung">
            <a:extLst>
              <a:ext uri="{FF2B5EF4-FFF2-40B4-BE49-F238E27FC236}">
                <a16:creationId xmlns:a16="http://schemas.microsoft.com/office/drawing/2014/main" id="{0C8FACF4-4A83-477B-8913-FD129E17216F}"/>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50863" y="3677306"/>
            <a:ext cx="4600051" cy="3066701"/>
          </a:xfrm>
          <a:prstGeom prst="rect">
            <a:avLst/>
          </a:prstGeom>
        </p:spPr>
      </p:pic>
      <p:sp>
        <p:nvSpPr>
          <p:cNvPr id="8" name="Rechteck 7">
            <a:extLst>
              <a:ext uri="{FF2B5EF4-FFF2-40B4-BE49-F238E27FC236}">
                <a16:creationId xmlns:a16="http://schemas.microsoft.com/office/drawing/2014/main" id="{DA2A062B-5AC5-44DB-B005-88BF85789725}"/>
              </a:ext>
            </a:extLst>
          </p:cNvPr>
          <p:cNvSpPr/>
          <p:nvPr/>
        </p:nvSpPr>
        <p:spPr>
          <a:xfrm rot="1146786">
            <a:off x="5370602" y="5171641"/>
            <a:ext cx="4395819" cy="523220"/>
          </a:xfrm>
          <a:prstGeom prst="rect">
            <a:avLst/>
          </a:prstGeom>
        </p:spPr>
        <p:txBody>
          <a:bodyPr wrap="none">
            <a:spAutoFit/>
          </a:bodyPr>
          <a:lstStyle/>
          <a:p>
            <a:r>
              <a:rPr lang="de-DE" sz="2800" b="1" dirty="0">
                <a:solidFill>
                  <a:schemeClr val="accent5">
                    <a:lumMod val="75000"/>
                  </a:schemeClr>
                </a:solidFill>
              </a:rPr>
              <a:t>Wir freuen uns auf euch!</a:t>
            </a:r>
          </a:p>
        </p:txBody>
      </p:sp>
    </p:spTree>
    <p:extLst>
      <p:ext uri="{BB962C8B-B14F-4D97-AF65-F5344CB8AC3E}">
        <p14:creationId xmlns:p14="http://schemas.microsoft.com/office/powerpoint/2010/main" val="26648322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bg>
      <p:bgPr>
        <a:no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Kopiervorlage </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423498"/>
            <a:ext cx="9219414" cy="369332"/>
          </a:xfrm>
          <a:prstGeom prst="rect">
            <a:avLst/>
          </a:prstGeom>
          <a:noFill/>
        </p:spPr>
        <p:txBody>
          <a:bodyPr wrap="square" lIns="0" tIns="0" rIns="0" bIns="0" rtlCol="0">
            <a:spAutoFit/>
          </a:bodyPr>
          <a:lstStyle/>
          <a:p>
            <a:endParaRPr lang="de-DE" sz="2400" b="1" dirty="0"/>
          </a:p>
        </p:txBody>
      </p:sp>
      <p:pic>
        <p:nvPicPr>
          <p:cNvPr id="4" name="Grafik 3">
            <a:extLst>
              <a:ext uri="{FF2B5EF4-FFF2-40B4-BE49-F238E27FC236}">
                <a16:creationId xmlns:a16="http://schemas.microsoft.com/office/drawing/2014/main" id="{C7D14CF8-E168-4867-8E0A-CE510AB53E97}"/>
              </a:ext>
            </a:extLst>
          </p:cNvPr>
          <p:cNvPicPr>
            <a:picLocks noChangeAspect="1"/>
          </p:cNvPicPr>
          <p:nvPr/>
        </p:nvPicPr>
        <p:blipFill>
          <a:blip r:embed="rId3"/>
          <a:stretch>
            <a:fillRect/>
          </a:stretch>
        </p:blipFill>
        <p:spPr>
          <a:xfrm>
            <a:off x="4122115" y="772870"/>
            <a:ext cx="5286375" cy="6124575"/>
          </a:xfrm>
          <a:prstGeom prst="rect">
            <a:avLst/>
          </a:prstGeom>
        </p:spPr>
      </p:pic>
    </p:spTree>
    <p:extLst>
      <p:ext uri="{BB962C8B-B14F-4D97-AF65-F5344CB8AC3E}">
        <p14:creationId xmlns:p14="http://schemas.microsoft.com/office/powerpoint/2010/main" val="14239196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An – aus	On - off</a:t>
            </a:r>
            <a:br>
              <a:rPr lang="de-CH" dirty="0"/>
            </a:br>
            <a:endParaRPr lang="de-CH" dirty="0"/>
          </a:p>
        </p:txBody>
      </p:sp>
      <p:pic>
        <p:nvPicPr>
          <p:cNvPr id="3" name="Grafik 2" descr="Ein Bild, das Kleiderbügel, Zeichnung enthält.&#10;&#10;Automatisch generierte Beschreibung">
            <a:extLst>
              <a:ext uri="{FF2B5EF4-FFF2-40B4-BE49-F238E27FC236}">
                <a16:creationId xmlns:a16="http://schemas.microsoft.com/office/drawing/2014/main" id="{0650A429-4753-4117-AEB8-981B85493D3E}"/>
              </a:ext>
            </a:extLst>
          </p:cNvPr>
          <p:cNvPicPr>
            <a:picLocks noChangeAspect="1"/>
          </p:cNvPicPr>
          <p:nvPr/>
        </p:nvPicPr>
        <p:blipFill>
          <a:blip r:embed="rId3"/>
          <a:stretch>
            <a:fillRect/>
          </a:stretch>
        </p:blipFill>
        <p:spPr>
          <a:xfrm>
            <a:off x="690671" y="1678829"/>
            <a:ext cx="5018474" cy="4186800"/>
          </a:xfrm>
          <a:prstGeom prst="rect">
            <a:avLst/>
          </a:prstGeom>
        </p:spPr>
      </p:pic>
      <p:pic>
        <p:nvPicPr>
          <p:cNvPr id="9" name="Grafik 8" descr="Ein Bild, das Hemd, Zeichnung enthält.&#10;&#10;Automatisch generierte Beschreibung">
            <a:extLst>
              <a:ext uri="{FF2B5EF4-FFF2-40B4-BE49-F238E27FC236}">
                <a16:creationId xmlns:a16="http://schemas.microsoft.com/office/drawing/2014/main" id="{4CF1A11B-5BEB-4D59-8A03-177BE89C309F}"/>
              </a:ext>
            </a:extLst>
          </p:cNvPr>
          <p:cNvPicPr>
            <a:picLocks noChangeAspect="1"/>
          </p:cNvPicPr>
          <p:nvPr/>
        </p:nvPicPr>
        <p:blipFill>
          <a:blip r:embed="rId4"/>
          <a:stretch>
            <a:fillRect/>
          </a:stretch>
        </p:blipFill>
        <p:spPr>
          <a:xfrm>
            <a:off x="6096000" y="1678830"/>
            <a:ext cx="5018300" cy="4186655"/>
          </a:xfrm>
          <a:prstGeom prst="rect">
            <a:avLst/>
          </a:prstGeom>
        </p:spPr>
      </p:pic>
      <p:sp>
        <p:nvSpPr>
          <p:cNvPr id="11" name="Rechteck: abgerundete Ecken 10">
            <a:extLst>
              <a:ext uri="{FF2B5EF4-FFF2-40B4-BE49-F238E27FC236}">
                <a16:creationId xmlns:a16="http://schemas.microsoft.com/office/drawing/2014/main" id="{2A238C81-13BF-4BBE-AACB-4540681666B7}"/>
              </a:ext>
            </a:extLst>
          </p:cNvPr>
          <p:cNvSpPr/>
          <p:nvPr/>
        </p:nvSpPr>
        <p:spPr>
          <a:xfrm>
            <a:off x="969678" y="2435970"/>
            <a:ext cx="9865616" cy="2516957"/>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3200" b="1" dirty="0" err="1">
                <a:solidFill>
                  <a:schemeClr val="accent1">
                    <a:lumMod val="50000"/>
                  </a:schemeClr>
                </a:solidFill>
              </a:rPr>
              <a:t>bina</a:t>
            </a:r>
            <a:r>
              <a:rPr lang="de-DE" sz="3200" b="1" dirty="0">
                <a:solidFill>
                  <a:schemeClr val="accent1">
                    <a:lumMod val="50000"/>
                  </a:schemeClr>
                </a:solidFill>
              </a:rPr>
              <a:t> (lat.) = paarweise </a:t>
            </a:r>
          </a:p>
          <a:p>
            <a:br>
              <a:rPr lang="de-DE" sz="3200" b="1" dirty="0">
                <a:solidFill>
                  <a:schemeClr val="accent1">
                    <a:lumMod val="50000"/>
                  </a:schemeClr>
                </a:solidFill>
              </a:rPr>
            </a:br>
            <a:r>
              <a:rPr lang="de-DE" sz="3200" b="1" dirty="0">
                <a:solidFill>
                  <a:schemeClr val="accent1">
                    <a:lumMod val="50000"/>
                  </a:schemeClr>
                </a:solidFill>
              </a:rPr>
              <a:t>Etwas das nur zwei Zustände haben kann: on/off</a:t>
            </a:r>
          </a:p>
        </p:txBody>
      </p:sp>
      <p:sp>
        <p:nvSpPr>
          <p:cNvPr id="14" name="Textplatzhalter 2">
            <a:extLst>
              <a:ext uri="{FF2B5EF4-FFF2-40B4-BE49-F238E27FC236}">
                <a16:creationId xmlns:a16="http://schemas.microsoft.com/office/drawing/2014/main" id="{700D8D1A-5D3D-4A2E-A5A9-F226DD693CA5}"/>
              </a:ext>
            </a:extLst>
          </p:cNvPr>
          <p:cNvSpPr txBox="1">
            <a:spLocks/>
          </p:cNvSpPr>
          <p:nvPr/>
        </p:nvSpPr>
        <p:spPr>
          <a:xfrm>
            <a:off x="107803" y="6705600"/>
            <a:ext cx="3019425" cy="152400"/>
          </a:xfrm>
          <a:prstGeom prst="rect">
            <a:avLst/>
          </a:prstGeom>
        </p:spPr>
        <p:txBody>
          <a:bodyPr vert="horz" lIns="0" tIns="0" rIns="0" bIns="0" rtlCol="0" anchor="ctr"/>
          <a:lstStyle>
            <a:defPPr>
              <a:defRPr lang="de-DE"/>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dirty="0">
                <a:solidFill>
                  <a:schemeClr val="tx1">
                    <a:lumMod val="75000"/>
                    <a:lumOff val="25000"/>
                  </a:schemeClr>
                </a:solidFill>
              </a:rPr>
              <a:t>Bilder: </a:t>
            </a:r>
            <a:r>
              <a:rPr lang="de-CH" dirty="0" err="1">
                <a:solidFill>
                  <a:schemeClr val="tx1">
                    <a:lumMod val="75000"/>
                    <a:lumOff val="25000"/>
                  </a:schemeClr>
                </a:solidFill>
              </a:rPr>
              <a:t>Metacom</a:t>
            </a:r>
            <a:endParaRPr lang="de-CH" dirty="0">
              <a:solidFill>
                <a:schemeClr val="tx1">
                  <a:lumMod val="75000"/>
                  <a:lumOff val="25000"/>
                </a:schemeClr>
              </a:solidFill>
            </a:endParaRPr>
          </a:p>
          <a:p>
            <a:endParaRPr lang="de-CH" dirty="0"/>
          </a:p>
        </p:txBody>
      </p:sp>
    </p:spTree>
    <p:extLst>
      <p:ext uri="{BB962C8B-B14F-4D97-AF65-F5344CB8AC3E}">
        <p14:creationId xmlns:p14="http://schemas.microsoft.com/office/powerpoint/2010/main" val="3647424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Ein Bit</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423498"/>
            <a:ext cx="9219414" cy="2215991"/>
          </a:xfrm>
          <a:prstGeom prst="rect">
            <a:avLst/>
          </a:prstGeom>
          <a:noFill/>
        </p:spPr>
        <p:txBody>
          <a:bodyPr wrap="square" lIns="0" tIns="0" rIns="0" bIns="0" rtlCol="0">
            <a:spAutoFit/>
          </a:bodyPr>
          <a:lstStyle/>
          <a:p>
            <a:r>
              <a:rPr lang="de-DE" sz="2400" dirty="0"/>
              <a:t>ein Bit = Binärwert</a:t>
            </a:r>
          </a:p>
          <a:p>
            <a:endParaRPr lang="de-DE" sz="2400" dirty="0"/>
          </a:p>
          <a:p>
            <a:r>
              <a:rPr lang="de-DE" sz="2400" dirty="0"/>
              <a:t>Anstatt „an“ und „aus“ brauchen Programmierer die Ziffern 0 und 1</a:t>
            </a:r>
          </a:p>
          <a:p>
            <a:endParaRPr lang="de-DE" sz="2400" dirty="0"/>
          </a:p>
          <a:p>
            <a:r>
              <a:rPr lang="de-DE" sz="2400" b="1" dirty="0"/>
              <a:t>0 = aus</a:t>
            </a:r>
          </a:p>
          <a:p>
            <a:r>
              <a:rPr lang="de-DE" sz="2400" b="1" dirty="0"/>
              <a:t>1 = an</a:t>
            </a:r>
          </a:p>
        </p:txBody>
      </p:sp>
      <p:sp>
        <p:nvSpPr>
          <p:cNvPr id="8" name="Rechteck: abgerundete Ecken 7">
            <a:extLst>
              <a:ext uri="{FF2B5EF4-FFF2-40B4-BE49-F238E27FC236}">
                <a16:creationId xmlns:a16="http://schemas.microsoft.com/office/drawing/2014/main" id="{15CF2511-636D-41FC-964A-EF2971F9886A}"/>
              </a:ext>
            </a:extLst>
          </p:cNvPr>
          <p:cNvSpPr/>
          <p:nvPr/>
        </p:nvSpPr>
        <p:spPr>
          <a:xfrm>
            <a:off x="1198133" y="3916983"/>
            <a:ext cx="9795733" cy="2341227"/>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200" dirty="0">
                <a:solidFill>
                  <a:schemeClr val="accent1">
                    <a:lumMod val="50000"/>
                  </a:schemeClr>
                </a:solidFill>
              </a:rPr>
              <a:t>Mit einem Bit können wir somit eine von zwei Zahlen darstellen:</a:t>
            </a:r>
          </a:p>
          <a:p>
            <a:pPr algn="ctr"/>
            <a:endParaRPr lang="de-DE" sz="3200" dirty="0">
              <a:solidFill>
                <a:schemeClr val="accent1">
                  <a:lumMod val="50000"/>
                </a:schemeClr>
              </a:solidFill>
            </a:endParaRPr>
          </a:p>
          <a:p>
            <a:pPr algn="ctr"/>
            <a:r>
              <a:rPr lang="de-DE" sz="4400" b="1" dirty="0">
                <a:solidFill>
                  <a:schemeClr val="accent1">
                    <a:lumMod val="50000"/>
                  </a:schemeClr>
                </a:solidFill>
              </a:rPr>
              <a:t>0 oder 1</a:t>
            </a:r>
          </a:p>
        </p:txBody>
      </p:sp>
    </p:spTree>
    <p:extLst>
      <p:ext uri="{BB962C8B-B14F-4D97-AF65-F5344CB8AC3E}">
        <p14:creationId xmlns:p14="http://schemas.microsoft.com/office/powerpoint/2010/main" val="2200607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a:t>
            </a:r>
            <a:r>
              <a:rPr lang="de-CH" dirty="0" err="1"/>
              <a:t>Bites</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423498"/>
            <a:ext cx="9219414" cy="1785104"/>
          </a:xfrm>
          <a:prstGeom prst="rect">
            <a:avLst/>
          </a:prstGeom>
          <a:noFill/>
        </p:spPr>
        <p:txBody>
          <a:bodyPr wrap="square" lIns="0" tIns="0" rIns="0" bIns="0" rtlCol="0">
            <a:spAutoFit/>
          </a:bodyPr>
          <a:lstStyle/>
          <a:p>
            <a:r>
              <a:rPr lang="de-DE" sz="2400" dirty="0"/>
              <a:t>Was, wenn wir mehr wollen?</a:t>
            </a:r>
          </a:p>
          <a:p>
            <a:endParaRPr lang="de-DE" sz="2400" b="1" dirty="0"/>
          </a:p>
          <a:p>
            <a:r>
              <a:rPr lang="de-DE" sz="2400" b="1" dirty="0"/>
              <a:t>Wie viele Kombinationen gibt es mit 2 </a:t>
            </a:r>
            <a:r>
              <a:rPr lang="de-DE" sz="2400" b="1" dirty="0" err="1"/>
              <a:t>Bites</a:t>
            </a:r>
            <a:r>
              <a:rPr lang="de-DE" sz="2400" b="1" dirty="0"/>
              <a:t>?</a:t>
            </a:r>
          </a:p>
          <a:p>
            <a:r>
              <a:rPr lang="de-DE" sz="2000" dirty="0"/>
              <a:t>(Auf wie viele verschiedene Arten kann ich die Ziffern 0 und 1 anordnen?)</a:t>
            </a:r>
          </a:p>
          <a:p>
            <a:r>
              <a:rPr lang="de-DE" sz="2400" b="1" dirty="0"/>
              <a:t> </a:t>
            </a:r>
          </a:p>
        </p:txBody>
      </p:sp>
      <p:sp>
        <p:nvSpPr>
          <p:cNvPr id="8" name="Rechteck: abgerundete Ecken 7">
            <a:extLst>
              <a:ext uri="{FF2B5EF4-FFF2-40B4-BE49-F238E27FC236}">
                <a16:creationId xmlns:a16="http://schemas.microsoft.com/office/drawing/2014/main" id="{15CF2511-636D-41FC-964A-EF2971F9886A}"/>
              </a:ext>
            </a:extLst>
          </p:cNvPr>
          <p:cNvSpPr/>
          <p:nvPr/>
        </p:nvSpPr>
        <p:spPr>
          <a:xfrm>
            <a:off x="1198133" y="3255737"/>
            <a:ext cx="9795733" cy="3002474"/>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dirty="0">
                <a:solidFill>
                  <a:schemeClr val="accent1">
                    <a:lumMod val="50000"/>
                  </a:schemeClr>
                </a:solidFill>
              </a:rPr>
              <a:t>Es gibt 4 Kombinationen</a:t>
            </a:r>
          </a:p>
          <a:p>
            <a:pPr algn="ctr"/>
            <a:endParaRPr lang="de-DE" sz="4400" dirty="0">
              <a:solidFill>
                <a:schemeClr val="accent1">
                  <a:lumMod val="50000"/>
                </a:schemeClr>
              </a:solidFill>
            </a:endParaRPr>
          </a:p>
          <a:p>
            <a:pPr algn="ctr"/>
            <a:r>
              <a:rPr lang="de-DE" sz="4400" b="1" dirty="0">
                <a:solidFill>
                  <a:schemeClr val="accent1">
                    <a:lumMod val="50000"/>
                  </a:schemeClr>
                </a:solidFill>
              </a:rPr>
              <a:t>00, 01, 10, 11</a:t>
            </a:r>
          </a:p>
        </p:txBody>
      </p:sp>
    </p:spTree>
    <p:extLst>
      <p:ext uri="{BB962C8B-B14F-4D97-AF65-F5344CB8AC3E}">
        <p14:creationId xmlns:p14="http://schemas.microsoft.com/office/powerpoint/2010/main" val="1715946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yte</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423498"/>
            <a:ext cx="9219414" cy="1477328"/>
          </a:xfrm>
          <a:prstGeom prst="rect">
            <a:avLst/>
          </a:prstGeom>
          <a:noFill/>
        </p:spPr>
        <p:txBody>
          <a:bodyPr wrap="square" lIns="0" tIns="0" rIns="0" bIns="0" rtlCol="0">
            <a:spAutoFit/>
          </a:bodyPr>
          <a:lstStyle/>
          <a:p>
            <a:r>
              <a:rPr lang="de-DE" sz="2400" b="1" dirty="0"/>
              <a:t>Wie viele Kombinationen sind mit 3 </a:t>
            </a:r>
            <a:r>
              <a:rPr lang="de-DE" sz="2400" b="1" dirty="0" err="1"/>
              <a:t>Bites</a:t>
            </a:r>
            <a:r>
              <a:rPr lang="de-DE" sz="2400" b="1" dirty="0"/>
              <a:t> möglich?</a:t>
            </a:r>
          </a:p>
          <a:p>
            <a:endParaRPr lang="de-DE" sz="2400" b="1" dirty="0"/>
          </a:p>
          <a:p>
            <a:r>
              <a:rPr lang="de-DE" sz="2400" dirty="0"/>
              <a:t>Sucht alle Möglichkeiten und schreibt sie auf.</a:t>
            </a:r>
          </a:p>
          <a:p>
            <a:r>
              <a:rPr lang="de-DE" sz="2400" b="1" dirty="0"/>
              <a:t> </a:t>
            </a:r>
          </a:p>
        </p:txBody>
      </p:sp>
      <p:sp>
        <p:nvSpPr>
          <p:cNvPr id="8" name="Rechteck: abgerundete Ecken 7">
            <a:extLst>
              <a:ext uri="{FF2B5EF4-FFF2-40B4-BE49-F238E27FC236}">
                <a16:creationId xmlns:a16="http://schemas.microsoft.com/office/drawing/2014/main" id="{15CF2511-636D-41FC-964A-EF2971F9886A}"/>
              </a:ext>
            </a:extLst>
          </p:cNvPr>
          <p:cNvSpPr/>
          <p:nvPr/>
        </p:nvSpPr>
        <p:spPr>
          <a:xfrm>
            <a:off x="849341" y="2947960"/>
            <a:ext cx="10707921" cy="2922113"/>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dirty="0">
                <a:solidFill>
                  <a:schemeClr val="accent1">
                    <a:lumMod val="50000"/>
                  </a:schemeClr>
                </a:solidFill>
              </a:rPr>
              <a:t>Es gibt 8 Kombinationen</a:t>
            </a:r>
            <a:br>
              <a:rPr lang="de-DE" sz="4400" dirty="0">
                <a:solidFill>
                  <a:schemeClr val="accent1">
                    <a:lumMod val="50000"/>
                  </a:schemeClr>
                </a:solidFill>
              </a:rPr>
            </a:br>
            <a:endParaRPr lang="de-DE" sz="4400" dirty="0">
              <a:solidFill>
                <a:schemeClr val="accent1">
                  <a:lumMod val="50000"/>
                </a:schemeClr>
              </a:solidFill>
            </a:endParaRPr>
          </a:p>
          <a:p>
            <a:pPr algn="ctr"/>
            <a:r>
              <a:rPr lang="de-DE" sz="4400" b="1" dirty="0">
                <a:solidFill>
                  <a:schemeClr val="accent1">
                    <a:lumMod val="50000"/>
                  </a:schemeClr>
                </a:solidFill>
              </a:rPr>
              <a:t>000, 001, 010, 011, 100, 101, 110 111</a:t>
            </a:r>
          </a:p>
        </p:txBody>
      </p:sp>
      <p:sp>
        <p:nvSpPr>
          <p:cNvPr id="3" name="Textfeld 2">
            <a:extLst>
              <a:ext uri="{FF2B5EF4-FFF2-40B4-BE49-F238E27FC236}">
                <a16:creationId xmlns:a16="http://schemas.microsoft.com/office/drawing/2014/main" id="{7703D24B-447F-4FAF-8C5D-CDDD8C8D9428}"/>
              </a:ext>
            </a:extLst>
          </p:cNvPr>
          <p:cNvSpPr txBox="1"/>
          <p:nvPr/>
        </p:nvSpPr>
        <p:spPr>
          <a:xfrm rot="20152404">
            <a:off x="8041064" y="3591611"/>
            <a:ext cx="4034672" cy="553998"/>
          </a:xfrm>
          <a:prstGeom prst="rect">
            <a:avLst/>
          </a:prstGeom>
          <a:noFill/>
        </p:spPr>
        <p:txBody>
          <a:bodyPr wrap="square" lIns="0" tIns="0" rIns="0" bIns="0" rtlCol="0">
            <a:spAutoFit/>
          </a:bodyPr>
          <a:lstStyle/>
          <a:p>
            <a:r>
              <a:rPr lang="de-DE" sz="3600" b="1" dirty="0">
                <a:solidFill>
                  <a:schemeClr val="accent5">
                    <a:lumMod val="75000"/>
                  </a:schemeClr>
                </a:solidFill>
              </a:rPr>
              <a:t>8 </a:t>
            </a:r>
            <a:r>
              <a:rPr lang="de-DE" sz="3600" b="1" dirty="0" err="1">
                <a:solidFill>
                  <a:schemeClr val="accent5">
                    <a:lumMod val="75000"/>
                  </a:schemeClr>
                </a:solidFill>
              </a:rPr>
              <a:t>Bites</a:t>
            </a:r>
            <a:r>
              <a:rPr lang="de-DE" sz="3600" b="1" dirty="0">
                <a:solidFill>
                  <a:schemeClr val="accent5">
                    <a:lumMod val="75000"/>
                  </a:schemeClr>
                </a:solidFill>
              </a:rPr>
              <a:t> = 1 Byte</a:t>
            </a:r>
          </a:p>
        </p:txBody>
      </p:sp>
    </p:spTree>
    <p:extLst>
      <p:ext uri="{BB962C8B-B14F-4D97-AF65-F5344CB8AC3E}">
        <p14:creationId xmlns:p14="http://schemas.microsoft.com/office/powerpoint/2010/main" val="2190288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Byte </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423498"/>
            <a:ext cx="9219414" cy="369332"/>
          </a:xfrm>
          <a:prstGeom prst="rect">
            <a:avLst/>
          </a:prstGeom>
          <a:noFill/>
        </p:spPr>
        <p:txBody>
          <a:bodyPr wrap="square" lIns="0" tIns="0" rIns="0" bIns="0" rtlCol="0">
            <a:spAutoFit/>
          </a:bodyPr>
          <a:lstStyle/>
          <a:p>
            <a:endParaRPr lang="de-DE" sz="2400" b="1" dirty="0"/>
          </a:p>
        </p:txBody>
      </p:sp>
      <p:pic>
        <p:nvPicPr>
          <p:cNvPr id="4" name="Grafik 3" descr="Ein Bild, das draußen, Berg, Gras, Natur enthält.&#10;&#10;Automatisch generierte Beschreibung">
            <a:extLst>
              <a:ext uri="{FF2B5EF4-FFF2-40B4-BE49-F238E27FC236}">
                <a16:creationId xmlns:a16="http://schemas.microsoft.com/office/drawing/2014/main" id="{8118F2E5-DFB3-44F3-8AF6-2FDD454AA46E}"/>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963818" y="1053281"/>
            <a:ext cx="7007257" cy="5255443"/>
          </a:xfrm>
          <a:prstGeom prst="rect">
            <a:avLst/>
          </a:prstGeom>
        </p:spPr>
      </p:pic>
      <p:sp>
        <p:nvSpPr>
          <p:cNvPr id="7" name="Rechteck: abgerundete Ecken 6">
            <a:extLst>
              <a:ext uri="{FF2B5EF4-FFF2-40B4-BE49-F238E27FC236}">
                <a16:creationId xmlns:a16="http://schemas.microsoft.com/office/drawing/2014/main" id="{51F22D21-2287-4701-B83B-BFAE4DB25FB1}"/>
              </a:ext>
            </a:extLst>
          </p:cNvPr>
          <p:cNvSpPr/>
          <p:nvPr/>
        </p:nvSpPr>
        <p:spPr>
          <a:xfrm>
            <a:off x="5797484" y="5227467"/>
            <a:ext cx="4939646" cy="1081257"/>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dirty="0">
                <a:solidFill>
                  <a:schemeClr val="accent1">
                    <a:lumMod val="50000"/>
                  </a:schemeClr>
                </a:solidFill>
              </a:rPr>
              <a:t>2,9 Megabyte</a:t>
            </a:r>
          </a:p>
        </p:txBody>
      </p:sp>
      <p:sp>
        <p:nvSpPr>
          <p:cNvPr id="9" name="Textfeld 8">
            <a:extLst>
              <a:ext uri="{FF2B5EF4-FFF2-40B4-BE49-F238E27FC236}">
                <a16:creationId xmlns:a16="http://schemas.microsoft.com/office/drawing/2014/main" id="{DA34128D-59E8-4481-83F9-DF9E6A1085EC}"/>
              </a:ext>
            </a:extLst>
          </p:cNvPr>
          <p:cNvSpPr txBox="1"/>
          <p:nvPr/>
        </p:nvSpPr>
        <p:spPr>
          <a:xfrm>
            <a:off x="550863" y="1423498"/>
            <a:ext cx="4068271" cy="2215991"/>
          </a:xfrm>
          <a:prstGeom prst="rect">
            <a:avLst/>
          </a:prstGeom>
          <a:noFill/>
        </p:spPr>
        <p:txBody>
          <a:bodyPr wrap="square" lIns="0" tIns="0" rIns="0" bIns="0" rtlCol="0">
            <a:spAutoFit/>
          </a:bodyPr>
          <a:lstStyle/>
          <a:p>
            <a:r>
              <a:rPr lang="de-DE" sz="2400" b="1" dirty="0"/>
              <a:t>Schätze: </a:t>
            </a:r>
            <a:br>
              <a:rPr lang="de-DE" sz="2400" b="1" dirty="0"/>
            </a:br>
            <a:r>
              <a:rPr lang="de-DE" sz="2400" b="1" dirty="0"/>
              <a:t>Wie viele Bytes hat dieses Bild? </a:t>
            </a:r>
          </a:p>
          <a:p>
            <a:endParaRPr lang="de-DE" sz="2400" b="1" dirty="0"/>
          </a:p>
          <a:p>
            <a:endParaRPr lang="de-DE" sz="2400" dirty="0"/>
          </a:p>
          <a:p>
            <a:r>
              <a:rPr lang="de-DE" sz="2400" b="1" dirty="0"/>
              <a:t> </a:t>
            </a:r>
          </a:p>
        </p:txBody>
      </p:sp>
    </p:spTree>
    <p:extLst>
      <p:ext uri="{BB962C8B-B14F-4D97-AF65-F5344CB8AC3E}">
        <p14:creationId xmlns:p14="http://schemas.microsoft.com/office/powerpoint/2010/main" val="3067161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a:t>
            </a:r>
            <a:r>
              <a:rPr lang="de-CH" dirty="0" err="1"/>
              <a:t>Mega</a:t>
            </a:r>
            <a:r>
              <a:rPr lang="de-CH" dirty="0"/>
              <a:t> – </a:t>
            </a:r>
            <a:r>
              <a:rPr lang="de-CH" dirty="0" err="1"/>
              <a:t>Giga</a:t>
            </a:r>
            <a:r>
              <a:rPr lang="de-CH" dirty="0"/>
              <a:t> - </a:t>
            </a:r>
            <a:r>
              <a:rPr lang="de-CH" dirty="0" err="1"/>
              <a:t>Tera</a:t>
            </a:r>
            <a:r>
              <a:rPr lang="de-CH" dirty="0"/>
              <a:t> </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423498"/>
            <a:ext cx="9219414" cy="369332"/>
          </a:xfrm>
          <a:prstGeom prst="rect">
            <a:avLst/>
          </a:prstGeom>
          <a:noFill/>
        </p:spPr>
        <p:txBody>
          <a:bodyPr wrap="square" lIns="0" tIns="0" rIns="0" bIns="0" rtlCol="0">
            <a:spAutoFit/>
          </a:bodyPr>
          <a:lstStyle/>
          <a:p>
            <a:endParaRPr lang="de-DE" sz="2400" b="1" dirty="0"/>
          </a:p>
        </p:txBody>
      </p:sp>
      <p:graphicFrame>
        <p:nvGraphicFramePr>
          <p:cNvPr id="3" name="Tabelle 2">
            <a:extLst>
              <a:ext uri="{FF2B5EF4-FFF2-40B4-BE49-F238E27FC236}">
                <a16:creationId xmlns:a16="http://schemas.microsoft.com/office/drawing/2014/main" id="{A038AB79-A33B-447C-9E4B-DF0763C61B74}"/>
              </a:ext>
            </a:extLst>
          </p:cNvPr>
          <p:cNvGraphicFramePr>
            <a:graphicFrameLocks noGrp="1"/>
          </p:cNvGraphicFramePr>
          <p:nvPr>
            <p:extLst>
              <p:ext uri="{D42A27DB-BD31-4B8C-83A1-F6EECF244321}">
                <p14:modId xmlns:p14="http://schemas.microsoft.com/office/powerpoint/2010/main" val="730885079"/>
              </p:ext>
            </p:extLst>
          </p:nvPr>
        </p:nvGraphicFramePr>
        <p:xfrm>
          <a:off x="645131" y="1423498"/>
          <a:ext cx="11090274" cy="1737360"/>
        </p:xfrm>
        <a:graphic>
          <a:graphicData uri="http://schemas.openxmlformats.org/drawingml/2006/table">
            <a:tbl>
              <a:tblPr/>
              <a:tblGrid>
                <a:gridCol w="853731">
                  <a:extLst>
                    <a:ext uri="{9D8B030D-6E8A-4147-A177-3AD203B41FA5}">
                      <a16:colId xmlns:a16="http://schemas.microsoft.com/office/drawing/2014/main" val="78002202"/>
                    </a:ext>
                  </a:extLst>
                </a:gridCol>
                <a:gridCol w="1008668">
                  <a:extLst>
                    <a:ext uri="{9D8B030D-6E8A-4147-A177-3AD203B41FA5}">
                      <a16:colId xmlns:a16="http://schemas.microsoft.com/office/drawing/2014/main" val="4203777686"/>
                    </a:ext>
                  </a:extLst>
                </a:gridCol>
                <a:gridCol w="3299381">
                  <a:extLst>
                    <a:ext uri="{9D8B030D-6E8A-4147-A177-3AD203B41FA5}">
                      <a16:colId xmlns:a16="http://schemas.microsoft.com/office/drawing/2014/main" val="3649909503"/>
                    </a:ext>
                  </a:extLst>
                </a:gridCol>
                <a:gridCol w="1018095">
                  <a:extLst>
                    <a:ext uri="{9D8B030D-6E8A-4147-A177-3AD203B41FA5}">
                      <a16:colId xmlns:a16="http://schemas.microsoft.com/office/drawing/2014/main" val="2432317271"/>
                    </a:ext>
                  </a:extLst>
                </a:gridCol>
                <a:gridCol w="3062020">
                  <a:extLst>
                    <a:ext uri="{9D8B030D-6E8A-4147-A177-3AD203B41FA5}">
                      <a16:colId xmlns:a16="http://schemas.microsoft.com/office/drawing/2014/main" val="3130593513"/>
                    </a:ext>
                  </a:extLst>
                </a:gridCol>
                <a:gridCol w="1848379">
                  <a:extLst>
                    <a:ext uri="{9D8B030D-6E8A-4147-A177-3AD203B41FA5}">
                      <a16:colId xmlns:a16="http://schemas.microsoft.com/office/drawing/2014/main" val="3602466057"/>
                    </a:ext>
                  </a:extLst>
                </a:gridCol>
              </a:tblGrid>
              <a:tr h="0">
                <a:tc>
                  <a:txBody>
                    <a:bodyPr/>
                    <a:lstStyle/>
                    <a:p>
                      <a:pPr algn="ctr"/>
                      <a:r>
                        <a:rPr lang="de-DE">
                          <a:effectLst/>
                        </a:rPr>
                        <a:t>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Tera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gr. </a:t>
                      </a:r>
                      <a:r>
                        <a:rPr lang="de-DE" i="1" dirty="0" err="1">
                          <a:effectLst/>
                        </a:rPr>
                        <a:t>téras</a:t>
                      </a:r>
                      <a:r>
                        <a:rPr lang="de-DE" dirty="0">
                          <a:effectLst/>
                        </a:rPr>
                        <a:t> = Ungeheuer / </a:t>
                      </a:r>
                    </a:p>
                    <a:p>
                      <a:r>
                        <a:rPr lang="de-DE" dirty="0">
                          <a:effectLst/>
                        </a:rPr>
                        <a:t>gr. </a:t>
                      </a:r>
                      <a:r>
                        <a:rPr lang="de-DE" i="1" dirty="0" err="1">
                          <a:effectLst/>
                        </a:rPr>
                        <a:t>tetrákis</a:t>
                      </a:r>
                      <a:r>
                        <a:rPr lang="de-DE" dirty="0">
                          <a:effectLst/>
                        </a:rPr>
                        <a:t> = viermal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a:effectLst/>
                        </a:rPr>
                        <a:t>10</a:t>
                      </a:r>
                      <a:r>
                        <a:rPr lang="de-DE" baseline="30000">
                          <a:effectLst/>
                        </a:rPr>
                        <a:t>12</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1000000000000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u="none" strike="noStrike" dirty="0">
                          <a:solidFill>
                            <a:schemeClr val="accent1">
                              <a:lumMod val="50000"/>
                            </a:schemeClr>
                          </a:solidFill>
                          <a:effectLst/>
                        </a:rPr>
                        <a:t>Billion</a:t>
                      </a:r>
                      <a:endParaRPr lang="de-DE" u="none" dirty="0">
                        <a:solidFill>
                          <a:schemeClr val="accent1">
                            <a:lumMod val="50000"/>
                          </a:schemeClr>
                        </a:solidFill>
                        <a:effectLst/>
                      </a:endParaRP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extLst>
                  <a:ext uri="{0D108BD9-81ED-4DB2-BD59-A6C34878D82A}">
                    <a16:rowId xmlns:a16="http://schemas.microsoft.com/office/drawing/2014/main" val="3823821639"/>
                  </a:ext>
                </a:extLst>
              </a:tr>
              <a:tr h="0">
                <a:tc>
                  <a:txBody>
                    <a:bodyPr/>
                    <a:lstStyle/>
                    <a:p>
                      <a:pPr algn="ctr"/>
                      <a:r>
                        <a:rPr lang="de-DE">
                          <a:effectLst/>
                        </a:rPr>
                        <a:t>G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Giga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gr. </a:t>
                      </a:r>
                      <a:r>
                        <a:rPr lang="de-DE" i="1">
                          <a:effectLst/>
                        </a:rPr>
                        <a:t>gígas</a:t>
                      </a:r>
                      <a:r>
                        <a:rPr lang="de-DE">
                          <a:effectLst/>
                        </a:rPr>
                        <a:t> = Riese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10</a:t>
                      </a:r>
                      <a:r>
                        <a:rPr lang="de-DE" baseline="30000">
                          <a:effectLst/>
                        </a:rPr>
                        <a:t>9</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dirty="0">
                          <a:effectLst/>
                        </a:rPr>
                        <a:t>1000000000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u="none" strike="noStrike" dirty="0">
                          <a:solidFill>
                            <a:schemeClr val="accent1">
                              <a:lumMod val="50000"/>
                            </a:schemeClr>
                          </a:solidFill>
                          <a:effectLst/>
                        </a:rPr>
                        <a:t>Milliarde</a:t>
                      </a:r>
                      <a:endParaRPr lang="de-DE" u="none" dirty="0">
                        <a:solidFill>
                          <a:schemeClr val="accent1">
                            <a:lumMod val="50000"/>
                          </a:schemeClr>
                        </a:solidFill>
                        <a:effectLst/>
                      </a:endParaRP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666027207"/>
                  </a:ext>
                </a:extLst>
              </a:tr>
              <a:tr h="0">
                <a:tc>
                  <a:txBody>
                    <a:bodyPr/>
                    <a:lstStyle/>
                    <a:p>
                      <a:pPr algn="ctr"/>
                      <a:r>
                        <a:rPr lang="de-DE">
                          <a:effectLst/>
                        </a:rPr>
                        <a:t>M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Mega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gr. </a:t>
                      </a:r>
                      <a:r>
                        <a:rPr lang="de-DE" i="1" dirty="0" err="1">
                          <a:effectLst/>
                        </a:rPr>
                        <a:t>méga</a:t>
                      </a:r>
                      <a:r>
                        <a:rPr lang="de-DE" dirty="0">
                          <a:effectLst/>
                        </a:rPr>
                        <a:t> = </a:t>
                      </a:r>
                      <a:r>
                        <a:rPr lang="de-DE" dirty="0" err="1">
                          <a:effectLst/>
                        </a:rPr>
                        <a:t>gross</a:t>
                      </a:r>
                      <a:r>
                        <a:rPr lang="de-DE" dirty="0">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a:effectLst/>
                        </a:rPr>
                        <a:t>10</a:t>
                      </a:r>
                      <a:r>
                        <a:rPr lang="de-DE" baseline="30000">
                          <a:effectLst/>
                        </a:rPr>
                        <a:t>6</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1000000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u="none" strike="noStrike" dirty="0">
                          <a:solidFill>
                            <a:schemeClr val="accent1">
                              <a:lumMod val="50000"/>
                            </a:schemeClr>
                          </a:solidFill>
                          <a:effectLst/>
                        </a:rPr>
                        <a:t>Million</a:t>
                      </a:r>
                      <a:r>
                        <a:rPr lang="de-DE" u="none" dirty="0">
                          <a:solidFill>
                            <a:schemeClr val="accent1">
                              <a:lumMod val="50000"/>
                            </a:schemeClr>
                          </a:solidFill>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extLst>
                  <a:ext uri="{0D108BD9-81ED-4DB2-BD59-A6C34878D82A}">
                    <a16:rowId xmlns:a16="http://schemas.microsoft.com/office/drawing/2014/main" val="3086835518"/>
                  </a:ext>
                </a:extLst>
              </a:tr>
              <a:tr h="0">
                <a:tc>
                  <a:txBody>
                    <a:bodyPr/>
                    <a:lstStyle/>
                    <a:p>
                      <a:pPr algn="ctr"/>
                      <a:r>
                        <a:rPr lang="de-DE">
                          <a:effectLst/>
                        </a:rPr>
                        <a:t>k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Kilo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gr. </a:t>
                      </a:r>
                      <a:r>
                        <a:rPr lang="de-DE" i="1">
                          <a:effectLst/>
                        </a:rPr>
                        <a:t>chílioi</a:t>
                      </a:r>
                      <a:r>
                        <a:rPr lang="de-DE">
                          <a:effectLst/>
                        </a:rPr>
                        <a:t> = tausend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10</a:t>
                      </a:r>
                      <a:r>
                        <a:rPr lang="de-DE" baseline="30000">
                          <a:effectLst/>
                        </a:rPr>
                        <a:t>3</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dirty="0">
                          <a:effectLst/>
                        </a:rPr>
                        <a:t>1000</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u="none" strike="noStrike" dirty="0">
                          <a:solidFill>
                            <a:schemeClr val="accent1">
                              <a:lumMod val="50000"/>
                            </a:schemeClr>
                          </a:solidFill>
                          <a:effectLst/>
                        </a:rPr>
                        <a:t>Tausend</a:t>
                      </a:r>
                      <a:endParaRPr lang="de-DE" u="none" dirty="0">
                        <a:solidFill>
                          <a:schemeClr val="accent1">
                            <a:lumMod val="50000"/>
                          </a:schemeClr>
                        </a:solidFill>
                        <a:effectLst/>
                      </a:endParaRP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875879015"/>
                  </a:ext>
                </a:extLst>
              </a:tr>
            </a:tbl>
          </a:graphicData>
        </a:graphic>
      </p:graphicFrame>
      <p:sp>
        <p:nvSpPr>
          <p:cNvPr id="8" name="Rechteck: abgerundete Ecken 7">
            <a:extLst>
              <a:ext uri="{FF2B5EF4-FFF2-40B4-BE49-F238E27FC236}">
                <a16:creationId xmlns:a16="http://schemas.microsoft.com/office/drawing/2014/main" id="{DB8ADB1B-A4E0-4AFC-AF50-947A3B6A5D99}"/>
              </a:ext>
            </a:extLst>
          </p:cNvPr>
          <p:cNvSpPr/>
          <p:nvPr/>
        </p:nvSpPr>
        <p:spPr>
          <a:xfrm>
            <a:off x="2083324" y="3697143"/>
            <a:ext cx="7607431" cy="246258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dirty="0">
                <a:solidFill>
                  <a:schemeClr val="accent1">
                    <a:lumMod val="50000"/>
                  </a:schemeClr>
                </a:solidFill>
              </a:rPr>
              <a:t>Ein 3 min Song hat unkomprimiert etwa 30 MB</a:t>
            </a:r>
          </a:p>
        </p:txBody>
      </p:sp>
    </p:spTree>
    <p:extLst>
      <p:ext uri="{BB962C8B-B14F-4D97-AF65-F5344CB8AC3E}">
        <p14:creationId xmlns:p14="http://schemas.microsoft.com/office/powerpoint/2010/main" val="3662609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a:t>
            </a:r>
            <a:r>
              <a:rPr lang="de-CH" dirty="0" err="1"/>
              <a:t>Mega</a:t>
            </a:r>
            <a:r>
              <a:rPr lang="de-CH" dirty="0"/>
              <a:t> – </a:t>
            </a:r>
            <a:r>
              <a:rPr lang="de-CH" dirty="0" err="1"/>
              <a:t>Giga</a:t>
            </a:r>
            <a:r>
              <a:rPr lang="de-CH" dirty="0"/>
              <a:t> - </a:t>
            </a:r>
            <a:r>
              <a:rPr lang="de-CH" dirty="0" err="1"/>
              <a:t>Tera</a:t>
            </a:r>
            <a:r>
              <a:rPr lang="de-CH" dirty="0"/>
              <a:t> </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1423498"/>
            <a:ext cx="9219414" cy="369332"/>
          </a:xfrm>
          <a:prstGeom prst="rect">
            <a:avLst/>
          </a:prstGeom>
          <a:noFill/>
        </p:spPr>
        <p:txBody>
          <a:bodyPr wrap="square" lIns="0" tIns="0" rIns="0" bIns="0" rtlCol="0">
            <a:spAutoFit/>
          </a:bodyPr>
          <a:lstStyle/>
          <a:p>
            <a:endParaRPr lang="de-DE" sz="2400" b="1" dirty="0"/>
          </a:p>
        </p:txBody>
      </p:sp>
      <p:graphicFrame>
        <p:nvGraphicFramePr>
          <p:cNvPr id="3" name="Tabelle 2">
            <a:extLst>
              <a:ext uri="{FF2B5EF4-FFF2-40B4-BE49-F238E27FC236}">
                <a16:creationId xmlns:a16="http://schemas.microsoft.com/office/drawing/2014/main" id="{A038AB79-A33B-447C-9E4B-DF0763C61B74}"/>
              </a:ext>
            </a:extLst>
          </p:cNvPr>
          <p:cNvGraphicFramePr>
            <a:graphicFrameLocks noGrp="1"/>
          </p:cNvGraphicFramePr>
          <p:nvPr/>
        </p:nvGraphicFramePr>
        <p:xfrm>
          <a:off x="645131" y="1423498"/>
          <a:ext cx="11090274" cy="1737360"/>
        </p:xfrm>
        <a:graphic>
          <a:graphicData uri="http://schemas.openxmlformats.org/drawingml/2006/table">
            <a:tbl>
              <a:tblPr/>
              <a:tblGrid>
                <a:gridCol w="853731">
                  <a:extLst>
                    <a:ext uri="{9D8B030D-6E8A-4147-A177-3AD203B41FA5}">
                      <a16:colId xmlns:a16="http://schemas.microsoft.com/office/drawing/2014/main" val="78002202"/>
                    </a:ext>
                  </a:extLst>
                </a:gridCol>
                <a:gridCol w="1008668">
                  <a:extLst>
                    <a:ext uri="{9D8B030D-6E8A-4147-A177-3AD203B41FA5}">
                      <a16:colId xmlns:a16="http://schemas.microsoft.com/office/drawing/2014/main" val="4203777686"/>
                    </a:ext>
                  </a:extLst>
                </a:gridCol>
                <a:gridCol w="3299381">
                  <a:extLst>
                    <a:ext uri="{9D8B030D-6E8A-4147-A177-3AD203B41FA5}">
                      <a16:colId xmlns:a16="http://schemas.microsoft.com/office/drawing/2014/main" val="3649909503"/>
                    </a:ext>
                  </a:extLst>
                </a:gridCol>
                <a:gridCol w="1018095">
                  <a:extLst>
                    <a:ext uri="{9D8B030D-6E8A-4147-A177-3AD203B41FA5}">
                      <a16:colId xmlns:a16="http://schemas.microsoft.com/office/drawing/2014/main" val="2432317271"/>
                    </a:ext>
                  </a:extLst>
                </a:gridCol>
                <a:gridCol w="3062020">
                  <a:extLst>
                    <a:ext uri="{9D8B030D-6E8A-4147-A177-3AD203B41FA5}">
                      <a16:colId xmlns:a16="http://schemas.microsoft.com/office/drawing/2014/main" val="3130593513"/>
                    </a:ext>
                  </a:extLst>
                </a:gridCol>
                <a:gridCol w="1848379">
                  <a:extLst>
                    <a:ext uri="{9D8B030D-6E8A-4147-A177-3AD203B41FA5}">
                      <a16:colId xmlns:a16="http://schemas.microsoft.com/office/drawing/2014/main" val="3602466057"/>
                    </a:ext>
                  </a:extLst>
                </a:gridCol>
              </a:tblGrid>
              <a:tr h="0">
                <a:tc>
                  <a:txBody>
                    <a:bodyPr/>
                    <a:lstStyle/>
                    <a:p>
                      <a:pPr algn="ctr"/>
                      <a:r>
                        <a:rPr lang="de-DE">
                          <a:effectLst/>
                        </a:rPr>
                        <a:t>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Tera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gr. </a:t>
                      </a:r>
                      <a:r>
                        <a:rPr lang="de-DE" i="1" dirty="0" err="1">
                          <a:effectLst/>
                        </a:rPr>
                        <a:t>téras</a:t>
                      </a:r>
                      <a:r>
                        <a:rPr lang="de-DE" dirty="0">
                          <a:effectLst/>
                        </a:rPr>
                        <a:t> = Ungeheuer / </a:t>
                      </a:r>
                    </a:p>
                    <a:p>
                      <a:r>
                        <a:rPr lang="de-DE" dirty="0">
                          <a:effectLst/>
                        </a:rPr>
                        <a:t>gr. </a:t>
                      </a:r>
                      <a:r>
                        <a:rPr lang="de-DE" i="1" dirty="0" err="1">
                          <a:effectLst/>
                        </a:rPr>
                        <a:t>tetrákis</a:t>
                      </a:r>
                      <a:r>
                        <a:rPr lang="de-DE" dirty="0">
                          <a:effectLst/>
                        </a:rPr>
                        <a:t> = viermal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a:effectLst/>
                        </a:rPr>
                        <a:t>10</a:t>
                      </a:r>
                      <a:r>
                        <a:rPr lang="de-DE" baseline="30000">
                          <a:effectLst/>
                        </a:rPr>
                        <a:t>12</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1000000000000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u="none" strike="noStrike" dirty="0">
                          <a:solidFill>
                            <a:schemeClr val="accent1">
                              <a:lumMod val="50000"/>
                            </a:schemeClr>
                          </a:solidFill>
                          <a:effectLst/>
                        </a:rPr>
                        <a:t>Billion</a:t>
                      </a:r>
                      <a:endParaRPr lang="de-DE" u="none" dirty="0">
                        <a:solidFill>
                          <a:schemeClr val="accent1">
                            <a:lumMod val="50000"/>
                          </a:schemeClr>
                        </a:solidFill>
                        <a:effectLst/>
                      </a:endParaRP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extLst>
                  <a:ext uri="{0D108BD9-81ED-4DB2-BD59-A6C34878D82A}">
                    <a16:rowId xmlns:a16="http://schemas.microsoft.com/office/drawing/2014/main" val="3823821639"/>
                  </a:ext>
                </a:extLst>
              </a:tr>
              <a:tr h="0">
                <a:tc>
                  <a:txBody>
                    <a:bodyPr/>
                    <a:lstStyle/>
                    <a:p>
                      <a:pPr algn="ctr"/>
                      <a:r>
                        <a:rPr lang="de-DE">
                          <a:effectLst/>
                        </a:rPr>
                        <a:t>G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Giga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gr. </a:t>
                      </a:r>
                      <a:r>
                        <a:rPr lang="de-DE" i="1">
                          <a:effectLst/>
                        </a:rPr>
                        <a:t>gígas</a:t>
                      </a:r>
                      <a:r>
                        <a:rPr lang="de-DE">
                          <a:effectLst/>
                        </a:rPr>
                        <a:t> = Riese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10</a:t>
                      </a:r>
                      <a:r>
                        <a:rPr lang="de-DE" baseline="30000">
                          <a:effectLst/>
                        </a:rPr>
                        <a:t>9</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dirty="0">
                          <a:effectLst/>
                        </a:rPr>
                        <a:t>1000000000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u="none" strike="noStrike" dirty="0">
                          <a:solidFill>
                            <a:schemeClr val="accent1">
                              <a:lumMod val="50000"/>
                            </a:schemeClr>
                          </a:solidFill>
                          <a:effectLst/>
                        </a:rPr>
                        <a:t>Milliarde</a:t>
                      </a:r>
                      <a:endParaRPr lang="de-DE" u="none" dirty="0">
                        <a:solidFill>
                          <a:schemeClr val="accent1">
                            <a:lumMod val="50000"/>
                          </a:schemeClr>
                        </a:solidFill>
                        <a:effectLst/>
                      </a:endParaRP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666027207"/>
                  </a:ext>
                </a:extLst>
              </a:tr>
              <a:tr h="0">
                <a:tc>
                  <a:txBody>
                    <a:bodyPr/>
                    <a:lstStyle/>
                    <a:p>
                      <a:pPr algn="ctr"/>
                      <a:r>
                        <a:rPr lang="de-DE">
                          <a:effectLst/>
                        </a:rPr>
                        <a:t>M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Mega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gr. </a:t>
                      </a:r>
                      <a:r>
                        <a:rPr lang="de-DE" i="1" dirty="0" err="1">
                          <a:effectLst/>
                        </a:rPr>
                        <a:t>méga</a:t>
                      </a:r>
                      <a:r>
                        <a:rPr lang="de-DE" dirty="0">
                          <a:effectLst/>
                        </a:rPr>
                        <a:t> = </a:t>
                      </a:r>
                      <a:r>
                        <a:rPr lang="de-DE" dirty="0" err="1">
                          <a:effectLst/>
                        </a:rPr>
                        <a:t>gross</a:t>
                      </a:r>
                      <a:r>
                        <a:rPr lang="de-DE" dirty="0">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a:effectLst/>
                        </a:rPr>
                        <a:t>10</a:t>
                      </a:r>
                      <a:r>
                        <a:rPr lang="de-DE" baseline="30000">
                          <a:effectLst/>
                        </a:rPr>
                        <a:t>6</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dirty="0">
                          <a:effectLst/>
                        </a:rPr>
                        <a:t>1000000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tc>
                  <a:txBody>
                    <a:bodyPr/>
                    <a:lstStyle/>
                    <a:p>
                      <a:r>
                        <a:rPr lang="de-DE" u="none" strike="noStrike" dirty="0">
                          <a:solidFill>
                            <a:schemeClr val="accent1">
                              <a:lumMod val="50000"/>
                            </a:schemeClr>
                          </a:solidFill>
                          <a:effectLst/>
                        </a:rPr>
                        <a:t>Million</a:t>
                      </a:r>
                      <a:r>
                        <a:rPr lang="de-DE" u="none" dirty="0">
                          <a:solidFill>
                            <a:schemeClr val="accent1">
                              <a:lumMod val="50000"/>
                            </a:schemeClr>
                          </a:solidFill>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FFFFF"/>
                    </a:solidFill>
                  </a:tcPr>
                </a:tc>
                <a:extLst>
                  <a:ext uri="{0D108BD9-81ED-4DB2-BD59-A6C34878D82A}">
                    <a16:rowId xmlns:a16="http://schemas.microsoft.com/office/drawing/2014/main" val="3086835518"/>
                  </a:ext>
                </a:extLst>
              </a:tr>
              <a:tr h="0">
                <a:tc>
                  <a:txBody>
                    <a:bodyPr/>
                    <a:lstStyle/>
                    <a:p>
                      <a:pPr algn="ctr"/>
                      <a:r>
                        <a:rPr lang="de-DE">
                          <a:effectLst/>
                        </a:rPr>
                        <a:t>k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r>
                        <a:rPr lang="de-DE">
                          <a:effectLst/>
                        </a:rPr>
                        <a:t>Kilo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gr. </a:t>
                      </a:r>
                      <a:r>
                        <a:rPr lang="de-DE" i="1">
                          <a:effectLst/>
                        </a:rPr>
                        <a:t>chílioi</a:t>
                      </a:r>
                      <a:r>
                        <a:rPr lang="de-DE">
                          <a:effectLst/>
                        </a:rPr>
                        <a:t> = tausend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a:effectLst/>
                        </a:rPr>
                        <a:t>10</a:t>
                      </a:r>
                      <a:r>
                        <a:rPr lang="de-DE" baseline="30000">
                          <a:effectLst/>
                        </a:rPr>
                        <a:t>3</a:t>
                      </a:r>
                      <a:r>
                        <a:rPr lang="de-DE">
                          <a:effectLst/>
                        </a:rPr>
                        <a:t> </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dirty="0">
                          <a:effectLst/>
                        </a:rPr>
                        <a:t>1000</a:t>
                      </a: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r>
                        <a:rPr lang="de-DE" u="none" strike="noStrike" dirty="0">
                          <a:solidFill>
                            <a:schemeClr val="accent1">
                              <a:lumMod val="50000"/>
                            </a:schemeClr>
                          </a:solidFill>
                          <a:effectLst/>
                        </a:rPr>
                        <a:t>Tausend</a:t>
                      </a:r>
                      <a:endParaRPr lang="de-DE" u="none" dirty="0">
                        <a:solidFill>
                          <a:schemeClr val="accent1">
                            <a:lumMod val="50000"/>
                          </a:schemeClr>
                        </a:solidFill>
                        <a:effectLst/>
                      </a:endParaRPr>
                    </a:p>
                  </a:txBody>
                  <a:tcPr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875879015"/>
                  </a:ext>
                </a:extLst>
              </a:tr>
            </a:tbl>
          </a:graphicData>
        </a:graphic>
      </p:graphicFrame>
      <p:sp>
        <p:nvSpPr>
          <p:cNvPr id="8" name="Rechteck: abgerundete Ecken 7">
            <a:extLst>
              <a:ext uri="{FF2B5EF4-FFF2-40B4-BE49-F238E27FC236}">
                <a16:creationId xmlns:a16="http://schemas.microsoft.com/office/drawing/2014/main" id="{DB8ADB1B-A4E0-4AFC-AF50-947A3B6A5D99}"/>
              </a:ext>
            </a:extLst>
          </p:cNvPr>
          <p:cNvSpPr/>
          <p:nvPr/>
        </p:nvSpPr>
        <p:spPr>
          <a:xfrm>
            <a:off x="2083324" y="3697143"/>
            <a:ext cx="7607431" cy="246258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4400" dirty="0">
                <a:solidFill>
                  <a:schemeClr val="accent1">
                    <a:lumMod val="50000"/>
                  </a:schemeClr>
                </a:solidFill>
              </a:rPr>
              <a:t>Ein 3 min Song hat unkomprimiert etwa 30 MB</a:t>
            </a:r>
          </a:p>
        </p:txBody>
      </p:sp>
    </p:spTree>
    <p:extLst>
      <p:ext uri="{BB962C8B-B14F-4D97-AF65-F5344CB8AC3E}">
        <p14:creationId xmlns:p14="http://schemas.microsoft.com/office/powerpoint/2010/main" val="2754892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53A5996F-A214-714F-BCA6-4DACEFD785BA}"/>
              </a:ext>
            </a:extLst>
          </p:cNvPr>
          <p:cNvSpPr>
            <a:spLocks noGrp="1"/>
          </p:cNvSpPr>
          <p:nvPr>
            <p:ph type="title"/>
          </p:nvPr>
        </p:nvSpPr>
        <p:spPr/>
        <p:txBody>
          <a:bodyPr/>
          <a:lstStyle/>
          <a:p>
            <a:r>
              <a:rPr lang="de-CH" dirty="0"/>
              <a:t> Vorbereitung Lehrperson</a:t>
            </a:r>
            <a:br>
              <a:rPr lang="de-CH" dirty="0"/>
            </a:br>
            <a:endParaRPr lang="de-CH" dirty="0"/>
          </a:p>
        </p:txBody>
      </p:sp>
      <p:sp>
        <p:nvSpPr>
          <p:cNvPr id="2" name="Textfeld 1">
            <a:extLst>
              <a:ext uri="{FF2B5EF4-FFF2-40B4-BE49-F238E27FC236}">
                <a16:creationId xmlns:a16="http://schemas.microsoft.com/office/drawing/2014/main" id="{79B02337-971C-44A4-9759-6546F6D53F97}"/>
              </a:ext>
            </a:extLst>
          </p:cNvPr>
          <p:cNvSpPr txBox="1"/>
          <p:nvPr/>
        </p:nvSpPr>
        <p:spPr>
          <a:xfrm>
            <a:off x="550863" y="2115798"/>
            <a:ext cx="9219414" cy="3323987"/>
          </a:xfrm>
          <a:prstGeom prst="rect">
            <a:avLst/>
          </a:prstGeom>
          <a:noFill/>
        </p:spPr>
        <p:txBody>
          <a:bodyPr wrap="square" lIns="0" tIns="0" rIns="0" bIns="0" rtlCol="0">
            <a:spAutoFit/>
          </a:bodyPr>
          <a:lstStyle/>
          <a:p>
            <a:r>
              <a:rPr lang="de-DE" sz="2400" b="1" dirty="0"/>
              <a:t>Karten ausdrucken oder selbst herstellen</a:t>
            </a:r>
            <a:br>
              <a:rPr lang="de-DE" sz="2400" b="1" dirty="0"/>
            </a:br>
            <a:r>
              <a:rPr lang="de-DE" sz="2400" b="1" dirty="0"/>
              <a:t>- Einmal A3</a:t>
            </a:r>
            <a:br>
              <a:rPr lang="de-DE" sz="2400" b="1" dirty="0"/>
            </a:br>
            <a:r>
              <a:rPr lang="de-DE" sz="2400" b="1" dirty="0"/>
              <a:t>- Einmal pro Zweiergruppe klein</a:t>
            </a:r>
          </a:p>
          <a:p>
            <a:endParaRPr lang="de-DE" sz="2400" b="1" dirty="0"/>
          </a:p>
          <a:p>
            <a:r>
              <a:rPr lang="de-DE" sz="2400" dirty="0"/>
              <a:t>Kopiervorlage am Ende der </a:t>
            </a:r>
            <a:r>
              <a:rPr lang="de-DE" sz="2400" dirty="0" err="1"/>
              <a:t>ppt</a:t>
            </a:r>
            <a:r>
              <a:rPr lang="de-DE" sz="2400" dirty="0"/>
              <a:t> oder unter</a:t>
            </a:r>
          </a:p>
          <a:p>
            <a:r>
              <a:rPr lang="de-DE" sz="2400" dirty="0">
                <a:hlinkClick r:id="rId3"/>
              </a:rPr>
              <a:t>https://classic.csunplugged.org/wp-content/uploads/2014/12/CS_Unplugged-de.pdf</a:t>
            </a:r>
            <a:r>
              <a:rPr lang="de-DE" sz="2400" dirty="0"/>
              <a:t> </a:t>
            </a:r>
          </a:p>
          <a:p>
            <a:endParaRPr lang="de-DE" sz="2400" dirty="0"/>
          </a:p>
          <a:p>
            <a:r>
              <a:rPr lang="de-DE" sz="2400" b="1" dirty="0"/>
              <a:t> </a:t>
            </a:r>
          </a:p>
        </p:txBody>
      </p:sp>
      <p:pic>
        <p:nvPicPr>
          <p:cNvPr id="6" name="Grafik 5">
            <a:extLst>
              <a:ext uri="{FF2B5EF4-FFF2-40B4-BE49-F238E27FC236}">
                <a16:creationId xmlns:a16="http://schemas.microsoft.com/office/drawing/2014/main" id="{A4765420-E3A9-406B-BF47-12141D0BB957}"/>
              </a:ext>
            </a:extLst>
          </p:cNvPr>
          <p:cNvPicPr>
            <a:picLocks noChangeAspect="1"/>
          </p:cNvPicPr>
          <p:nvPr/>
        </p:nvPicPr>
        <p:blipFill>
          <a:blip r:embed="rId4"/>
          <a:stretch>
            <a:fillRect/>
          </a:stretch>
        </p:blipFill>
        <p:spPr>
          <a:xfrm>
            <a:off x="8115650" y="1496485"/>
            <a:ext cx="3525487" cy="4084484"/>
          </a:xfrm>
          <a:prstGeom prst="rect">
            <a:avLst/>
          </a:prstGeom>
        </p:spPr>
      </p:pic>
    </p:spTree>
    <p:extLst>
      <p:ext uri="{BB962C8B-B14F-4D97-AF65-F5344CB8AC3E}">
        <p14:creationId xmlns:p14="http://schemas.microsoft.com/office/powerpoint/2010/main" val="9239839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HSG">
  <a:themeElements>
    <a:clrScheme name="PHSG">
      <a:dk1>
        <a:sysClr val="windowText" lastClr="000000"/>
      </a:dk1>
      <a:lt1>
        <a:sysClr val="window" lastClr="FFFFFF"/>
      </a:lt1>
      <a:dk2>
        <a:srgbClr val="666666"/>
      </a:dk2>
      <a:lt2>
        <a:srgbClr val="F2F2F2"/>
      </a:lt2>
      <a:accent1>
        <a:srgbClr val="5FAC22"/>
      </a:accent1>
      <a:accent2>
        <a:srgbClr val="AFD590"/>
      </a:accent2>
      <a:accent3>
        <a:srgbClr val="AA4C7D"/>
      </a:accent3>
      <a:accent4>
        <a:srgbClr val="CCA36E"/>
      </a:accent4>
      <a:accent5>
        <a:srgbClr val="FB7D19"/>
      </a:accent5>
      <a:accent6>
        <a:srgbClr val="62A8E5"/>
      </a:accent6>
      <a:hlink>
        <a:srgbClr val="5FAC22"/>
      </a:hlink>
      <a:folHlink>
        <a:srgbClr val="666666"/>
      </a:folHlink>
    </a:clrScheme>
    <a:fontScheme name="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HSG_Master_16zu9.potx" id="{442D7D8B-87C2-4DFD-BFB6-B610351CEE42}" vid="{A6654C8E-4DA7-47CF-BCAF-F1961B572BE3}"/>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87A914CCB9BAD49828FE29795FDA401" ma:contentTypeVersion="12" ma:contentTypeDescription="Ein neues Dokument erstellen." ma:contentTypeScope="" ma:versionID="e79a8370b643c6edeb2e95f460652760">
  <xsd:schema xmlns:xsd="http://www.w3.org/2001/XMLSchema" xmlns:xs="http://www.w3.org/2001/XMLSchema" xmlns:p="http://schemas.microsoft.com/office/2006/metadata/properties" xmlns:ns2="26a6297b-3fdd-4bf7-a2fb-305f6dee3ec5" xmlns:ns3="adffa7c3-77e3-4f14-bc9d-9412c1b6e317" targetNamespace="http://schemas.microsoft.com/office/2006/metadata/properties" ma:root="true" ma:fieldsID="27cf445c36d19330b2257e72a93d97f7" ns2:_="" ns3:_="">
    <xsd:import namespace="26a6297b-3fdd-4bf7-a2fb-305f6dee3ec5"/>
    <xsd:import namespace="adffa7c3-77e3-4f14-bc9d-9412c1b6e31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a6297b-3fdd-4bf7-a2fb-305f6dee3e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dffa7c3-77e3-4f14-bc9d-9412c1b6e317"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EF871D-C6C3-4D81-BC41-33C7623FBCFB}">
  <ds:schemaRefs>
    <ds:schemaRef ds:uri="http://schemas.microsoft.com/sharepoint/v3/contenttype/forms"/>
  </ds:schemaRefs>
</ds:datastoreItem>
</file>

<file path=customXml/itemProps2.xml><?xml version="1.0" encoding="utf-8"?>
<ds:datastoreItem xmlns:ds="http://schemas.openxmlformats.org/officeDocument/2006/customXml" ds:itemID="{44F5343A-6F4C-4C4F-8AC6-CA945DE35953}">
  <ds:schemaRefs>
    <ds:schemaRef ds:uri="http://purl.org/dc/terms/"/>
    <ds:schemaRef ds:uri="adffa7c3-77e3-4f14-bc9d-9412c1b6e317"/>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26a6297b-3fdd-4bf7-a2fb-305f6dee3ec5"/>
    <ds:schemaRef ds:uri="http://www.w3.org/XML/1998/namespace"/>
  </ds:schemaRefs>
</ds:datastoreItem>
</file>

<file path=customXml/itemProps3.xml><?xml version="1.0" encoding="utf-8"?>
<ds:datastoreItem xmlns:ds="http://schemas.openxmlformats.org/officeDocument/2006/customXml" ds:itemID="{1CB6C570-94DB-40B1-984E-88683030C66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a6297b-3fdd-4bf7-a2fb-305f6dee3ec5"/>
    <ds:schemaRef ds:uri="adffa7c3-77e3-4f14-bc9d-9412c1b6e31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264</Words>
  <Application>Microsoft Macintosh PowerPoint</Application>
  <PresentationFormat>Breitbild</PresentationFormat>
  <Paragraphs>208</Paragraphs>
  <Slides>19</Slides>
  <Notes>19</Notes>
  <HiddenSlides>2</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27" baseType="lpstr">
      <vt:lpstr>Arial</vt:lpstr>
      <vt:lpstr>Arial Black</vt:lpstr>
      <vt:lpstr>Calibri</vt:lpstr>
      <vt:lpstr>Courier New</vt:lpstr>
      <vt:lpstr>Symbol</vt:lpstr>
      <vt:lpstr>Wingdings</vt:lpstr>
      <vt:lpstr>PHSG</vt:lpstr>
      <vt:lpstr>think-cell Folie</vt:lpstr>
      <vt:lpstr>Binäre Welt der Bits und Bytes </vt:lpstr>
      <vt:lpstr>An – aus On - off </vt:lpstr>
      <vt:lpstr> Ein Bit </vt:lpstr>
      <vt:lpstr> Bites </vt:lpstr>
      <vt:lpstr> Byte </vt:lpstr>
      <vt:lpstr> Byte  </vt:lpstr>
      <vt:lpstr> Mega – Giga - Tera  </vt:lpstr>
      <vt:lpstr> Mega – Giga - Tera  </vt:lpstr>
      <vt:lpstr> Vorbereitung Lehrperson </vt:lpstr>
      <vt:lpstr> </vt:lpstr>
      <vt:lpstr> Binäre Zahlen - Vorbereitung </vt:lpstr>
      <vt:lpstr> Binäre Zahlen </vt:lpstr>
      <vt:lpstr> Binäre Zahlen </vt:lpstr>
      <vt:lpstr> Binäre Zahlen </vt:lpstr>
      <vt:lpstr> Binäre Zahlen - VEreinbarung </vt:lpstr>
      <vt:lpstr> Binäre Zahlen  </vt:lpstr>
      <vt:lpstr> Binäre Zahlen </vt:lpstr>
      <vt:lpstr> Besuch im Lernarrangement ANALOg - digital </vt:lpstr>
      <vt:lpstr> Kopiervorlag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 mBOT «Waste Challenge»</dc:title>
  <dc:creator>Garzi Manuel PHSG</dc:creator>
  <cp:lastModifiedBy>Knaus Guido PHSG</cp:lastModifiedBy>
  <cp:revision>26</cp:revision>
  <cp:lastPrinted>2020-02-17T16:06:59Z</cp:lastPrinted>
  <dcterms:created xsi:type="dcterms:W3CDTF">2018-05-07T09:46:11Z</dcterms:created>
  <dcterms:modified xsi:type="dcterms:W3CDTF">2020-02-17T16:0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7A914CCB9BAD49828FE29795FDA401</vt:lpwstr>
  </property>
</Properties>
</file>